
<file path=[Content_Types].xml><?xml version="1.0" encoding="utf-8"?>
<Types xmlns="http://schemas.openxmlformats.org/package/2006/content-types">
  <Override PartName="/ppt/slides/slide29.xml" ContentType="application/vnd.openxmlformats-officedocument.presentationml.slide+xml"/>
  <Override PartName="/ppt/slides/slide47.xml" ContentType="application/vnd.openxmlformats-officedocument.presentationml.slide+xml"/>
  <Override PartName="/ppt/tags/tag8.xml" ContentType="application/vnd.openxmlformats-officedocument.presentationml.tags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36.xml" ContentType="application/vnd.openxmlformats-officedocument.presentationml.slide+xml"/>
  <Override PartName="/ppt/tags/tag4.xml" ContentType="application/vnd.openxmlformats-officedocument.presentationml.tags+xml"/>
  <Override PartName="/ppt/slides/slide25.xml" ContentType="application/vnd.openxmlformats-officedocument.presentationml.slide+xml"/>
  <Override PartName="/ppt/slides/slide43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38.xml" ContentType="application/vnd.openxmlformats-officedocument.presentationml.tags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45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tags/tag34.xml" ContentType="application/vnd.openxmlformats-officedocument.presentationml.tags+xml"/>
  <Override PartName="/ppt/tags/tag52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41.xml" ContentType="application/vnd.openxmlformats-officedocument.presentationml.tags+xml"/>
  <Override PartName="/ppt/tags/tag70.xml" ContentType="application/vnd.openxmlformats-officedocument.presentationml.tags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30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ppt/slides/slide48.xml" ContentType="application/vnd.openxmlformats-officedocument.presentationml.slide+xml"/>
  <Default Extension="png" ContentType="image/png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slides/slide46.xml" ContentType="application/vnd.openxmlformats-officedocument.presentationml.slide+xml"/>
  <Override PartName="/ppt/presProps.xml" ContentType="application/vnd.openxmlformats-officedocument.presentationml.presProp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s/slide33.xml" ContentType="application/vnd.openxmlformats-officedocument.presentationml.slide+xml"/>
  <Override PartName="/ppt/slides/slide35.xml" ContentType="application/vnd.openxmlformats-officedocument.presentationml.slide+xml"/>
  <Override PartName="/ppt/slides/slide44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  <Override PartName="/ppt/tags/tag39.xml" ContentType="application/vnd.openxmlformats-officedocument.presentationml.tags+xml"/>
  <Override PartName="/ppt/tags/tag59.xml" ContentType="application/vnd.openxmlformats-officedocument.presentationml.tags+xml"/>
  <Override PartName="/ppt/tags/tag68.xml" ContentType="application/vnd.openxmlformats-officedocument.presentationml.tags+xml"/>
  <Override PartName="/ppt/tags/tag77.xml" ContentType="application/vnd.openxmlformats-officedocument.presentationml.tags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s/slide31.xml" ContentType="application/vnd.openxmlformats-officedocument.presentationml.slide+xml"/>
  <Override PartName="/ppt/slides/slide42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57.xml" ContentType="application/vnd.openxmlformats-officedocument.presentationml.tags+xml"/>
  <Override PartName="/ppt/tags/tag66.xml" ContentType="application/vnd.openxmlformats-officedocument.presentationml.tags+xml"/>
  <Override PartName="/ppt/tags/tag75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s/slide40.xml" ContentType="application/vnd.openxmlformats-officedocument.presentationml.slide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55.xml" ContentType="application/vnd.openxmlformats-officedocument.presentationml.tags+xml"/>
  <Override PartName="/ppt/tags/tag64.xml" ContentType="application/vnd.openxmlformats-officedocument.presentationml.tags+xml"/>
  <Override PartName="/ppt/tags/tag73.xml" ContentType="application/vnd.openxmlformats-officedocument.presentationml.tags+xml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53.xml" ContentType="application/vnd.openxmlformats-officedocument.presentationml.tags+xml"/>
  <Override PartName="/ppt/tags/tag62.xml" ContentType="application/vnd.openxmlformats-officedocument.presentationml.tags+xml"/>
  <Override PartName="/ppt/tags/tag71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tags/tag51.xml" ContentType="application/vnd.openxmlformats-officedocument.presentationml.tags+xml"/>
  <Override PartName="/ppt/tags/tag60.xml" ContentType="application/vnd.openxmlformats-officedocument.presentationml.tags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s/slide38.xml" ContentType="application/vnd.openxmlformats-officedocument.presentationml.slide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s/slide45.xml" ContentType="application/vnd.openxmlformats-officedocument.presentationml.slide+xml"/>
  <Override PartName="/ppt/slideLayouts/slideLayout4.xml" ContentType="application/vnd.openxmlformats-officedocument.presentationml.slideLayout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34.xml" ContentType="application/vnd.openxmlformats-officedocument.presentationml.slide+xml"/>
  <Override PartName="/ppt/tags/tag2.xml" ContentType="application/vnd.openxmlformats-officedocument.presentationml.tags+xml"/>
  <Override PartName="/ppt/tags/tag58.xml" ContentType="application/vnd.openxmlformats-officedocument.presentationml.tags+xml"/>
  <Override PartName="/ppt/tags/tag69.xml" ContentType="application/vnd.openxmlformats-officedocument.presentationml.tags+xml"/>
  <Default Extension="rels" ContentType="application/vnd.openxmlformats-package.relationships+xml"/>
  <Override PartName="/ppt/slides/slide23.xml" ContentType="application/vnd.openxmlformats-officedocument.presentationml.slide+xml"/>
  <Override PartName="/ppt/slides/slide41.xml" ContentType="application/vnd.openxmlformats-officedocument.presentationml.slide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tags/tag76.xml" ContentType="application/vnd.openxmlformats-officedocument.presentationml.tags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slides/slide7.xml" ContentType="application/vnd.openxmlformats-officedocument.presentationml.slide+xml"/>
  <Override PartName="/ppt/tags/tag10.xml" ContentType="application/vnd.openxmlformats-officedocument.presentationml.tags+xml"/>
  <Override PartName="/ppt/tags/tag21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50"/>
  </p:notesMasterIdLst>
  <p:sldIdLst>
    <p:sldId id="311" r:id="rId2"/>
    <p:sldId id="315" r:id="rId3"/>
    <p:sldId id="360" r:id="rId4"/>
    <p:sldId id="363" r:id="rId5"/>
    <p:sldId id="364" r:id="rId6"/>
    <p:sldId id="388" r:id="rId7"/>
    <p:sldId id="389" r:id="rId8"/>
    <p:sldId id="390" r:id="rId9"/>
    <p:sldId id="391" r:id="rId10"/>
    <p:sldId id="399" r:id="rId11"/>
    <p:sldId id="400" r:id="rId12"/>
    <p:sldId id="379" r:id="rId13"/>
    <p:sldId id="432" r:id="rId14"/>
    <p:sldId id="433" r:id="rId15"/>
    <p:sldId id="434" r:id="rId16"/>
    <p:sldId id="435" r:id="rId17"/>
    <p:sldId id="436" r:id="rId18"/>
    <p:sldId id="438" r:id="rId19"/>
    <p:sldId id="437" r:id="rId20"/>
    <p:sldId id="384" r:id="rId21"/>
    <p:sldId id="365" r:id="rId22"/>
    <p:sldId id="366" r:id="rId23"/>
    <p:sldId id="367" r:id="rId24"/>
    <p:sldId id="368" r:id="rId25"/>
    <p:sldId id="369" r:id="rId26"/>
    <p:sldId id="371" r:id="rId27"/>
    <p:sldId id="370" r:id="rId28"/>
    <p:sldId id="372" r:id="rId29"/>
    <p:sldId id="373" r:id="rId30"/>
    <p:sldId id="375" r:id="rId31"/>
    <p:sldId id="376" r:id="rId32"/>
    <p:sldId id="374" r:id="rId33"/>
    <p:sldId id="377" r:id="rId34"/>
    <p:sldId id="380" r:id="rId35"/>
    <p:sldId id="401" r:id="rId36"/>
    <p:sldId id="431" r:id="rId37"/>
    <p:sldId id="343" r:id="rId38"/>
    <p:sldId id="402" r:id="rId39"/>
    <p:sldId id="425" r:id="rId40"/>
    <p:sldId id="403" r:id="rId41"/>
    <p:sldId id="428" r:id="rId42"/>
    <p:sldId id="429" r:id="rId43"/>
    <p:sldId id="430" r:id="rId44"/>
    <p:sldId id="411" r:id="rId45"/>
    <p:sldId id="416" r:id="rId46"/>
    <p:sldId id="426" r:id="rId47"/>
    <p:sldId id="427" r:id="rId48"/>
    <p:sldId id="314" r:id="rId49"/>
  </p:sldIdLst>
  <p:sldSz cx="9144000" cy="5143500" type="screen16x9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12017" autoAdjust="0"/>
    <p:restoredTop sz="97356" autoAdjust="0"/>
  </p:normalViewPr>
  <p:slideViewPr>
    <p:cSldViewPr>
      <p:cViewPr varScale="1">
        <p:scale>
          <a:sx n="146" d="100"/>
          <a:sy n="146" d="100"/>
        </p:scale>
        <p:origin x="-540" y="-90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54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8" Type="http://schemas.openxmlformats.org/officeDocument/2006/relationships/slide" Target="slides/slide7.xml"/><Relationship Id="rId51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737D260-6268-4F26-AF15-ED356AF90945}" type="datetimeFigureOut">
              <a:rPr lang="en-US" smtClean="0"/>
              <a:pPr/>
              <a:t>10/4/2022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5494CF-C817-48EC-B3D8-4344773BA92C}" type="slidenum">
              <a:rPr lang="en-US" smtClean="0"/>
              <a:pPr/>
              <a:t>‹Nr.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4.jpe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3.jpeg"/><Relationship Id="rId2" Type="http://schemas.openxmlformats.org/officeDocument/2006/relationships/tags" Target="../tags/tag2.xml"/><Relationship Id="rId16" Type="http://schemas.openxmlformats.org/officeDocument/2006/relationships/image" Target="../media/image1.pn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2.jpeg"/><Relationship Id="rId5" Type="http://schemas.openxmlformats.org/officeDocument/2006/relationships/tags" Target="../tags/tag5.xml"/><Relationship Id="rId15" Type="http://schemas.openxmlformats.org/officeDocument/2006/relationships/image" Target="../media/image6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5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13" Type="http://schemas.openxmlformats.org/officeDocument/2006/relationships/image" Target="../media/image9.jpeg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image" Target="../media/image8.jpe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image" Target="../media/image7.jpeg"/><Relationship Id="rId5" Type="http://schemas.openxmlformats.org/officeDocument/2006/relationships/tags" Target="../tags/tag14.xml"/><Relationship Id="rId15" Type="http://schemas.openxmlformats.org/officeDocument/2006/relationships/image" Target="../media/image11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3.xml"/><Relationship Id="rId9" Type="http://schemas.openxmlformats.org/officeDocument/2006/relationships/tags" Target="../tags/tag18.xml"/><Relationship Id="rId14" Type="http://schemas.openxmlformats.org/officeDocument/2006/relationships/image" Target="../media/image10.jpe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image" Target="../media/image3.jpeg"/><Relationship Id="rId18" Type="http://schemas.openxmlformats.org/officeDocument/2006/relationships/image" Target="../media/image12.png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12" Type="http://schemas.openxmlformats.org/officeDocument/2006/relationships/image" Target="../media/image2.jpeg"/><Relationship Id="rId17" Type="http://schemas.openxmlformats.org/officeDocument/2006/relationships/image" Target="../media/image1.png"/><Relationship Id="rId2" Type="http://schemas.openxmlformats.org/officeDocument/2006/relationships/tags" Target="../tags/tag20.xml"/><Relationship Id="rId16" Type="http://schemas.openxmlformats.org/officeDocument/2006/relationships/image" Target="../media/image6.jpeg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15" Type="http://schemas.openxmlformats.org/officeDocument/2006/relationships/image" Target="../media/image5.jpeg"/><Relationship Id="rId10" Type="http://schemas.openxmlformats.org/officeDocument/2006/relationships/tags" Target="../tags/tag28.xml"/><Relationship Id="rId4" Type="http://schemas.openxmlformats.org/officeDocument/2006/relationships/tags" Target="../tags/tag22.xml"/><Relationship Id="rId9" Type="http://schemas.openxmlformats.org/officeDocument/2006/relationships/tags" Target="../tags/tag27.xml"/><Relationship Id="rId14" Type="http://schemas.openxmlformats.org/officeDocument/2006/relationships/image" Target="../media/image4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8" name="Gruppieren 27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10244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7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10242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3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23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26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1347614"/>
            <a:ext cx="7772400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 userDrawn="1">
            <p:ph type="subTitle" idx="1"/>
          </p:nvPr>
        </p:nvSpPr>
        <p:spPr>
          <a:xfrm>
            <a:off x="1371600" y="2355726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13" name="Textfeld 12"/>
          <p:cNvSpPr txBox="1"/>
          <p:nvPr userDrawn="1"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4" name="Freihandform 13"/>
          <p:cNvSpPr/>
          <p:nvPr userDrawn="1"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 userDrawn="1"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 userDrawn="1"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Parallelogramm 16"/>
          <p:cNvSpPr/>
          <p:nvPr userDrawn="1"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Parallelogramm 17"/>
          <p:cNvSpPr/>
          <p:nvPr userDrawn="1"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Freihandform 18"/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Freihandform 19"/>
          <p:cNvSpPr/>
          <p:nvPr userDrawn="1"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Rechteck 20"/>
          <p:cNvSpPr/>
          <p:nvPr userDrawn="1">
            <p:custDataLst>
              <p:tags r:id="rId9"/>
            </p:custDataLst>
          </p:nvPr>
        </p:nvSpPr>
        <p:spPr>
          <a:xfrm>
            <a:off x="795" y="648469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Rectangle 3"/>
          <p:cNvSpPr txBox="1">
            <a:spLocks noChangeArrowheads="1"/>
          </p:cNvSpPr>
          <p:nvPr userDrawn="1"/>
        </p:nvSpPr>
        <p:spPr bwMode="auto">
          <a:xfrm>
            <a:off x="845840" y="4240838"/>
            <a:ext cx="7452320" cy="85119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 algn="ctr">
              <a:spcBef>
                <a:spcPct val="20000"/>
              </a:spcBef>
              <a:defRPr/>
            </a:pPr>
            <a:r>
              <a:rPr lang="en-US" sz="1400" b="1" kern="0" dirty="0" smtClean="0">
                <a:latin typeface="+mn-lt"/>
              </a:rPr>
              <a:t>Prof. Dr</a:t>
            </a: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iorgi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helidze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Prof. Dr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lkhaz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hashiashvili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&amp;</a:t>
            </a:r>
          </a:p>
          <a:p>
            <a:pPr lvl="0" algn="ctr">
              <a:spcBef>
                <a:spcPct val="20000"/>
              </a:spcBef>
              <a:defRPr/>
            </a:pP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f. </a:t>
            </a:r>
            <a:r>
              <a:rPr lang="en-US" sz="1400" b="1" kern="0" dirty="0" smtClean="0">
                <a:latin typeface="+mn-lt"/>
              </a:rPr>
              <a:t>Dr. Dr. </a:t>
            </a:r>
            <a:r>
              <a:rPr lang="en-US" sz="1400" b="1" kern="0" dirty="0" err="1" smtClean="0">
                <a:latin typeface="+mn-lt"/>
              </a:rPr>
              <a:t>h.c</a:t>
            </a:r>
            <a:r>
              <a:rPr lang="en-US" sz="1400" b="1" kern="0" dirty="0" smtClean="0">
                <a:latin typeface="+mn-lt"/>
              </a:rPr>
              <a:t>. Florian Rupp</a:t>
            </a:r>
            <a:endParaRPr kumimoji="0" lang="en-US" sz="1400" b="1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500" dirty="0" smtClean="0"/>
          </a:p>
          <a:p>
            <a:pPr algn="ctr" eaLnBrk="1" hangingPunct="1"/>
            <a:r>
              <a:rPr lang="en-US" sz="1400" dirty="0" smtClean="0"/>
              <a:t>Kutaisi International</a:t>
            </a:r>
            <a:r>
              <a:rPr lang="en-US" sz="1400" baseline="0" dirty="0" smtClean="0"/>
              <a:t> University</a:t>
            </a:r>
            <a:endParaRPr lang="en-US" sz="1400" dirty="0" smtClean="0"/>
          </a:p>
        </p:txBody>
      </p:sp>
      <p:pic>
        <p:nvPicPr>
          <p:cNvPr id="24" name="Grafik 23" descr="index.png"/>
          <p:cNvPicPr>
            <a:picLocks noChangeAspect="1"/>
          </p:cNvPicPr>
          <p:nvPr userDrawn="1"/>
        </p:nvPicPr>
        <p:blipFill>
          <a:blip r:embed="rId16" cstate="print"/>
          <a:stretch>
            <a:fillRect/>
          </a:stretch>
        </p:blipFill>
        <p:spPr>
          <a:xfrm>
            <a:off x="179513" y="4437868"/>
            <a:ext cx="1872207" cy="58215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hteck 19"/>
          <p:cNvSpPr/>
          <p:nvPr userDrawn="1"/>
        </p:nvSpPr>
        <p:spPr>
          <a:xfrm>
            <a:off x="6084168" y="0"/>
            <a:ext cx="3059832" cy="810000"/>
          </a:xfrm>
          <a:prstGeom prst="rect">
            <a:avLst/>
          </a:pr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1"/>
            </p:custDataLst>
          </p:nvPr>
        </p:nvSpPr>
        <p:spPr>
          <a:xfrm>
            <a:off x="560" y="456093"/>
            <a:ext cx="9143440" cy="354739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43" name="Gruppieren 42"/>
          <p:cNvGrpSpPr/>
          <p:nvPr userDrawn="1"/>
        </p:nvGrpSpPr>
        <p:grpSpPr>
          <a:xfrm>
            <a:off x="0" y="0"/>
            <a:ext cx="6444207" cy="811112"/>
            <a:chOff x="0" y="0"/>
            <a:chExt cx="9156701" cy="1152525"/>
          </a:xfrm>
        </p:grpSpPr>
        <p:pic>
          <p:nvPicPr>
            <p:cNvPr id="28" name="Picture 8" descr="https://cdn.pixabay.com/photo/2016/04/13/19/23/binary-1327501_960_720.jpg"/>
            <p:cNvPicPr>
              <a:picLocks noChangeAspect="1" noChangeArrowheads="1"/>
            </p:cNvPicPr>
            <p:nvPr userDrawn="1"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395536" y="0"/>
              <a:ext cx="2828754" cy="1152128"/>
            </a:xfrm>
            <a:prstGeom prst="rect">
              <a:avLst/>
            </a:prstGeom>
            <a:noFill/>
          </p:spPr>
        </p:pic>
        <p:grpSp>
          <p:nvGrpSpPr>
            <p:cNvPr id="29" name="Gruppieren 28"/>
            <p:cNvGrpSpPr/>
            <p:nvPr userDrawn="1"/>
          </p:nvGrpSpPr>
          <p:grpSpPr>
            <a:xfrm>
              <a:off x="3059832" y="0"/>
              <a:ext cx="3312368" cy="1152525"/>
              <a:chOff x="3059832" y="0"/>
              <a:chExt cx="3312368" cy="1152525"/>
            </a:xfrm>
          </p:grpSpPr>
          <p:pic>
            <p:nvPicPr>
              <p:cNvPr id="30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  <p:cNvPicPr>
                <a:picLocks noChangeAspect="1" noChangeArrowheads="1"/>
              </p:cNvPicPr>
              <p:nvPr userDrawn="1"/>
            </p:nvPicPr>
            <p:blipFill>
              <a:blip r:embed="rId12" cstate="print"/>
              <a:srcRect/>
              <a:stretch>
                <a:fillRect/>
              </a:stretch>
            </p:blipFill>
            <p:spPr bwMode="auto">
              <a:xfrm>
                <a:off x="3059832" y="0"/>
                <a:ext cx="1728192" cy="1152128"/>
              </a:xfrm>
              <a:prstGeom prst="rect">
                <a:avLst/>
              </a:prstGeom>
              <a:noFill/>
            </p:spPr>
          </p:pic>
          <p:grpSp>
            <p:nvGrpSpPr>
              <p:cNvPr id="31" name="Gruppieren 26"/>
              <p:cNvGrpSpPr/>
              <p:nvPr userDrawn="1"/>
            </p:nvGrpSpPr>
            <p:grpSpPr>
              <a:xfrm>
                <a:off x="4427984" y="0"/>
                <a:ext cx="1944216" cy="1152525"/>
                <a:chOff x="4427984" y="0"/>
                <a:chExt cx="1944216" cy="1152525"/>
              </a:xfrm>
            </p:grpSpPr>
            <p:pic>
              <p:nvPicPr>
                <p:cNvPr id="32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3" cstate="print"/>
                <a:srcRect/>
                <a:stretch>
                  <a:fillRect/>
                </a:stretch>
              </p:blipFill>
              <p:spPr bwMode="auto">
                <a:xfrm>
                  <a:off x="4427984" y="0"/>
                  <a:ext cx="1944216" cy="267494"/>
                </a:xfrm>
                <a:prstGeom prst="rect">
                  <a:avLst/>
                </a:prstGeom>
                <a:noFill/>
              </p:spPr>
            </p:pic>
            <p:pic>
              <p:nvPicPr>
                <p:cNvPr id="33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4" cstate="print"/>
                <a:srcRect/>
                <a:stretch>
                  <a:fillRect/>
                </a:stretch>
              </p:blipFill>
              <p:spPr bwMode="auto">
                <a:xfrm>
                  <a:off x="4572000" y="267494"/>
                  <a:ext cx="1656184" cy="432048"/>
                </a:xfrm>
                <a:prstGeom prst="rect">
                  <a:avLst/>
                </a:prstGeom>
                <a:noFill/>
              </p:spPr>
            </p:pic>
            <p:pic>
              <p:nvPicPr>
                <p:cNvPr id="34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5" cstate="print"/>
                <a:srcRect/>
                <a:stretch>
                  <a:fillRect/>
                </a:stretch>
              </p:blipFill>
              <p:spPr bwMode="auto">
                <a:xfrm>
                  <a:off x="4716016" y="689073"/>
                  <a:ext cx="1368152" cy="463452"/>
                </a:xfrm>
                <a:prstGeom prst="rect">
                  <a:avLst/>
                </a:prstGeom>
                <a:noFill/>
              </p:spPr>
            </p:pic>
          </p:grpSp>
        </p:grpSp>
        <p:sp>
          <p:nvSpPr>
            <p:cNvPr id="35" name="Freihandform 34"/>
            <p:cNvSpPr/>
            <p:nvPr userDrawn="1">
              <p:custDataLst>
                <p:tags r:id="rId2"/>
              </p:custDataLst>
            </p:nvPr>
          </p:nvSpPr>
          <p:spPr>
            <a:xfrm flipH="1">
              <a:off x="6024860" y="447"/>
              <a:ext cx="313184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1955800"/>
                <a:gd name="connsiteY0" fmla="*/ 0 h 1143000"/>
                <a:gd name="connsiteX1" fmla="*/ 1641023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641023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Parallelogramm 35"/>
            <p:cNvSpPr/>
            <p:nvPr userDrawn="1">
              <p:custDataLst>
                <p:tags r:id="rId3"/>
              </p:custDataLst>
            </p:nvPr>
          </p:nvSpPr>
          <p:spPr>
            <a:xfrm>
              <a:off x="5808836" y="1"/>
              <a:ext cx="792088" cy="1152128"/>
            </a:xfrm>
            <a:prstGeom prst="parallelogram">
              <a:avLst>
                <a:gd name="adj" fmla="val 63481"/>
              </a:avLst>
            </a:pr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Parallelogramm 36"/>
            <p:cNvSpPr/>
            <p:nvPr userDrawn="1">
              <p:custDataLst>
                <p:tags r:id="rId4"/>
              </p:custDataLst>
            </p:nvPr>
          </p:nvSpPr>
          <p:spPr>
            <a:xfrm>
              <a:off x="2568476" y="1"/>
              <a:ext cx="1152128" cy="1152128"/>
            </a:xfrm>
            <a:prstGeom prst="parallelogram">
              <a:avLst>
                <a:gd name="adj" fmla="val 52628"/>
              </a:avLst>
            </a:prstGeom>
            <a:solidFill>
              <a:srgbClr val="1F497D">
                <a:lumMod val="60000"/>
                <a:lumOff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Parallelogramm 37"/>
            <p:cNvSpPr/>
            <p:nvPr userDrawn="1">
              <p:custDataLst>
                <p:tags r:id="rId5"/>
              </p:custDataLst>
            </p:nvPr>
          </p:nvSpPr>
          <p:spPr>
            <a:xfrm flipH="1">
              <a:off x="4296668" y="1"/>
              <a:ext cx="648072" cy="1152128"/>
            </a:xfrm>
            <a:prstGeom prst="parallelogram">
              <a:avLst>
                <a:gd name="adj" fmla="val 68305"/>
              </a:avLst>
            </a:prstGeom>
            <a:solidFill>
              <a:srgbClr val="F79646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Parallelogramm 38"/>
            <p:cNvSpPr/>
            <p:nvPr userDrawn="1">
              <p:custDataLst>
                <p:tags r:id="rId6"/>
              </p:custDataLst>
            </p:nvPr>
          </p:nvSpPr>
          <p:spPr>
            <a:xfrm>
              <a:off x="2568476" y="1"/>
              <a:ext cx="1008112" cy="1152128"/>
            </a:xfrm>
            <a:prstGeom prst="parallelogram">
              <a:avLst>
                <a:gd name="adj" fmla="val 88390"/>
              </a:avLst>
            </a:prstGeom>
            <a:solidFill>
              <a:srgbClr val="4F81BD">
                <a:lumMod val="20000"/>
                <a:lumOff val="8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Freihandform 39"/>
            <p:cNvSpPr/>
            <p:nvPr userDrawn="1">
              <p:custDataLst>
                <p:tags r:id="rId7"/>
              </p:custDataLst>
            </p:nvPr>
          </p:nvSpPr>
          <p:spPr>
            <a:xfrm>
              <a:off x="0" y="0"/>
              <a:ext cx="195580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485900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ihandform 40"/>
            <p:cNvSpPr/>
            <p:nvPr userDrawn="1">
              <p:custDataLst>
                <p:tags r:id="rId8"/>
              </p:custDataLst>
            </p:nvPr>
          </p:nvSpPr>
          <p:spPr>
            <a:xfrm>
              <a:off x="2580060" y="1"/>
              <a:ext cx="92452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0 w 2880320"/>
                <a:gd name="connsiteY4" fmla="*/ 0 h 1143000"/>
                <a:gd name="connsiteX0" fmla="*/ 216024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2160240 w 28803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132432 w 924520"/>
                <a:gd name="connsiteY3" fmla="*/ 643436 h 1143000"/>
                <a:gd name="connsiteX4" fmla="*/ 204440 w 9245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204440 w 924520"/>
                <a:gd name="connsiteY4" fmla="*/ 0 h 1143000"/>
                <a:gd name="connsiteX0" fmla="*/ 348456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348456 w 924520"/>
                <a:gd name="connsiteY4" fmla="*/ 0 h 1143000"/>
                <a:gd name="connsiteX0" fmla="*/ 348456 w 924520"/>
                <a:gd name="connsiteY0" fmla="*/ 571943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0" fmla="*/ 420464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420464 w 924520"/>
                <a:gd name="connsiteY3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4520" h="1143000">
                  <a:moveTo>
                    <a:pt x="420464" y="0"/>
                  </a:moveTo>
                  <a:lnTo>
                    <a:pt x="924520" y="0"/>
                  </a:lnTo>
                  <a:lnTo>
                    <a:pt x="0" y="1143000"/>
                  </a:lnTo>
                  <a:lnTo>
                    <a:pt x="420464" y="0"/>
                  </a:lnTo>
                  <a:close/>
                </a:path>
              </a:pathLst>
            </a:cu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Rechteck 41"/>
            <p:cNvSpPr/>
            <p:nvPr userDrawn="1">
              <p:custDataLst>
                <p:tags r:id="rId9"/>
              </p:custDataLst>
            </p:nvPr>
          </p:nvSpPr>
          <p:spPr>
            <a:xfrm>
              <a:off x="795" y="648072"/>
              <a:ext cx="9155906" cy="504056"/>
            </a:xfrm>
            <a:prstGeom prst="rect">
              <a:avLst/>
            </a:prstGeom>
            <a:solidFill>
              <a:srgbClr val="FFFFFF">
                <a:alpha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1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6" name="Gruppieren 25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27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8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29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30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31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6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4" name="Rechteck 23"/>
          <p:cNvSpPr/>
          <p:nvPr userDrawn="1"/>
        </p:nvSpPr>
        <p:spPr>
          <a:xfrm>
            <a:off x="179512" y="1275606"/>
            <a:ext cx="3240360" cy="374441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feld 10"/>
          <p:cNvSpPr txBox="1"/>
          <p:nvPr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2" name="Freihandform 11"/>
          <p:cNvSpPr/>
          <p:nvPr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Parallelogramm 12"/>
          <p:cNvSpPr/>
          <p:nvPr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Parallelogramm 13"/>
          <p:cNvSpPr/>
          <p:nvPr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Freihandform 16"/>
          <p:cNvSpPr/>
          <p:nvPr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Freihandform 17"/>
          <p:cNvSpPr/>
          <p:nvPr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9"/>
            </p:custDataLst>
          </p:nvPr>
        </p:nvSpPr>
        <p:spPr>
          <a:xfrm>
            <a:off x="795" y="648072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Titel 1"/>
          <p:cNvSpPr>
            <a:spLocks noGrp="1"/>
          </p:cNvSpPr>
          <p:nvPr userDrawn="1">
            <p:ph type="ctrTitle"/>
          </p:nvPr>
        </p:nvSpPr>
        <p:spPr>
          <a:xfrm>
            <a:off x="3851920" y="1275606"/>
            <a:ext cx="5112568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23" name="Rectangle 5"/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4752020" y="4299942"/>
            <a:ext cx="3240360" cy="720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ctr">
              <a:spcBef>
                <a:spcPct val="20000"/>
              </a:spcBef>
            </a:pPr>
            <a:endParaRPr lang="en-US" sz="1400" dirty="0" smtClean="0"/>
          </a:p>
        </p:txBody>
      </p:sp>
      <p:sp>
        <p:nvSpPr>
          <p:cNvPr id="25" name="Textfeld 24"/>
          <p:cNvSpPr txBox="1"/>
          <p:nvPr userDrawn="1"/>
        </p:nvSpPr>
        <p:spPr>
          <a:xfrm>
            <a:off x="3851920" y="2355726"/>
            <a:ext cx="504056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 smtClean="0"/>
              <a:t>Questions &amp; Remarks?</a:t>
            </a:r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r>
              <a:rPr lang="en-US" sz="2000" dirty="0" smtClean="0"/>
              <a:t>Thank You Very Much</a:t>
            </a:r>
            <a:endParaRPr lang="en-US" sz="2000" dirty="0"/>
          </a:p>
        </p:txBody>
      </p:sp>
      <p:pic>
        <p:nvPicPr>
          <p:cNvPr id="22" name="Grafik 21" descr="index.png"/>
          <p:cNvPicPr>
            <a:picLocks noChangeAspect="1"/>
          </p:cNvPicPr>
          <p:nvPr userDrawn="1"/>
        </p:nvPicPr>
        <p:blipFill>
          <a:blip r:embed="rId17" cstate="print"/>
          <a:stretch>
            <a:fillRect/>
          </a:stretch>
        </p:blipFill>
        <p:spPr>
          <a:xfrm>
            <a:off x="3798963" y="4578133"/>
            <a:ext cx="1421109" cy="441887"/>
          </a:xfrm>
          <a:prstGeom prst="rect">
            <a:avLst/>
          </a:prstGeom>
        </p:spPr>
      </p:pic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179512" y="1678889"/>
            <a:ext cx="3240360" cy="293785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invGray">
          <a:xfrm>
            <a:off x="0" y="1"/>
            <a:ext cx="9144000" cy="815024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 prst="coolSlant"/>
          </a:sp3d>
        </p:spPr>
        <p:txBody>
          <a:bodyPr wrap="none" anchor="ctr"/>
          <a:lstStyle/>
          <a:p>
            <a:pPr>
              <a:defRPr/>
            </a:pPr>
            <a:endParaRPr lang="de-DE"/>
          </a:p>
        </p:txBody>
      </p:sp>
      <p:sp>
        <p:nvSpPr>
          <p:cNvPr id="9" name="Abgerundetes Rechteck 8"/>
          <p:cNvSpPr/>
          <p:nvPr userDrawn="1"/>
        </p:nvSpPr>
        <p:spPr>
          <a:xfrm>
            <a:off x="118693" y="105507"/>
            <a:ext cx="667317" cy="598738"/>
          </a:xfrm>
          <a:prstGeom prst="roundRect">
            <a:avLst>
              <a:gd name="adj" fmla="val 917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2"/>
          <p:cNvSpPr>
            <a:spLocks noGrp="1" noChangeArrowheads="1"/>
          </p:cNvSpPr>
          <p:nvPr userDrawn="1"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  <p:pic>
        <p:nvPicPr>
          <p:cNvPr id="12" name="Grafik 11" descr="index.png"/>
          <p:cNvPicPr>
            <a:picLocks noChangeAspect="1"/>
          </p:cNvPicPr>
          <p:nvPr userDrawn="1"/>
        </p:nvPicPr>
        <p:blipFill>
          <a:blip r:embed="rId6" cstate="print"/>
          <a:srcRect r="69566"/>
          <a:stretch>
            <a:fillRect/>
          </a:stretch>
        </p:blipFill>
        <p:spPr>
          <a:xfrm>
            <a:off x="166812" y="110777"/>
            <a:ext cx="576064" cy="588567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55" r:id="rId3"/>
    <p:sldLayoutId id="2147483656" r:id="rId4"/>
  </p:sldLayoutIdLst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8.xml"/><Relationship Id="rId4" Type="http://schemas.openxmlformats.org/officeDocument/2006/relationships/image" Target="../media/image30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9.xml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0.xml"/><Relationship Id="rId4" Type="http://schemas.openxmlformats.org/officeDocument/2006/relationships/image" Target="../media/image35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1.xml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2.xml"/><Relationship Id="rId4" Type="http://schemas.openxmlformats.org/officeDocument/2006/relationships/image" Target="../media/image40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3.xml"/><Relationship Id="rId4" Type="http://schemas.openxmlformats.org/officeDocument/2006/relationships/image" Target="../media/image36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4.xml"/><Relationship Id="rId4" Type="http://schemas.openxmlformats.org/officeDocument/2006/relationships/image" Target="../media/image43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5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eg"/><Relationship Id="rId2" Type="http://schemas.openxmlformats.org/officeDocument/2006/relationships/image" Target="../media/image45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8.jpeg"/><Relationship Id="rId4" Type="http://schemas.openxmlformats.org/officeDocument/2006/relationships/image" Target="../media/image47.jpe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6" Type="http://schemas.openxmlformats.org/officeDocument/2006/relationships/image" Target="../media/image52.png"/><Relationship Id="rId5" Type="http://schemas.openxmlformats.org/officeDocument/2006/relationships/image" Target="../media/image51.png"/><Relationship Id="rId4" Type="http://schemas.openxmlformats.org/officeDocument/2006/relationships/image" Target="../media/image50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9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5" Type="http://schemas.openxmlformats.org/officeDocument/2006/relationships/image" Target="../media/image55.png"/><Relationship Id="rId4" Type="http://schemas.openxmlformats.org/officeDocument/2006/relationships/image" Target="../media/image54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7" Type="http://schemas.openxmlformats.org/officeDocument/2006/relationships/image" Target="../media/image6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3.xml"/><Relationship Id="rId6" Type="http://schemas.openxmlformats.org/officeDocument/2006/relationships/image" Target="../media/image60.jpeg"/><Relationship Id="rId5" Type="http://schemas.openxmlformats.org/officeDocument/2006/relationships/image" Target="../media/image59.png"/><Relationship Id="rId4" Type="http://schemas.openxmlformats.org/officeDocument/2006/relationships/image" Target="../media/image58.jpe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4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5" Type="http://schemas.openxmlformats.org/officeDocument/2006/relationships/image" Target="../media/image64.png"/><Relationship Id="rId4" Type="http://schemas.openxmlformats.org/officeDocument/2006/relationships/image" Target="../media/image63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9.xml"/><Relationship Id="rId4" Type="http://schemas.openxmlformats.org/officeDocument/2006/relationships/image" Target="../media/image14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8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5" Type="http://schemas.openxmlformats.org/officeDocument/2006/relationships/image" Target="../media/image68.png"/><Relationship Id="rId4" Type="http://schemas.openxmlformats.org/officeDocument/2006/relationships/image" Target="../media/image67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1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3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4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jpeg"/><Relationship Id="rId2" Type="http://schemas.openxmlformats.org/officeDocument/2006/relationships/image" Target="../media/image73.jpeg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75.jpeg"/><Relationship Id="rId1" Type="http://schemas.openxmlformats.org/officeDocument/2006/relationships/slideLayout" Target="../slideLayouts/slideLayout3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6.xml"/><Relationship Id="rId1" Type="http://schemas.openxmlformats.org/officeDocument/2006/relationships/tags" Target="../tags/tag65.xml"/><Relationship Id="rId5" Type="http://schemas.openxmlformats.org/officeDocument/2006/relationships/image" Target="../media/image77.png"/><Relationship Id="rId4" Type="http://schemas.openxmlformats.org/officeDocument/2006/relationships/image" Target="../media/image76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5" Type="http://schemas.openxmlformats.org/officeDocument/2006/relationships/image" Target="../media/image79.png"/><Relationship Id="rId4" Type="http://schemas.openxmlformats.org/officeDocument/2006/relationships/image" Target="../media/image7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0.xml"/><Relationship Id="rId4" Type="http://schemas.openxmlformats.org/officeDocument/2006/relationships/image" Target="../media/image16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5" Type="http://schemas.openxmlformats.org/officeDocument/2006/relationships/image" Target="../media/image81.png"/><Relationship Id="rId4" Type="http://schemas.openxmlformats.org/officeDocument/2006/relationships/image" Target="../media/image80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1.xml"/><Relationship Id="rId4" Type="http://schemas.openxmlformats.org/officeDocument/2006/relationships/image" Target="../media/image83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2.xml"/><Relationship Id="rId4" Type="http://schemas.openxmlformats.org/officeDocument/2006/relationships/image" Target="../media/image84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3.xml"/><Relationship Id="rId4" Type="http://schemas.openxmlformats.org/officeDocument/2006/relationships/image" Target="../media/image86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4.xml"/><Relationship Id="rId4" Type="http://schemas.openxmlformats.org/officeDocument/2006/relationships/image" Target="../media/image87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5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6.xml"/><Relationship Id="rId4" Type="http://schemas.openxmlformats.org/officeDocument/2006/relationships/image" Target="../media/image90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7.xml"/><Relationship Id="rId4" Type="http://schemas.openxmlformats.org/officeDocument/2006/relationships/image" Target="../media/image91.png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1.xml"/><Relationship Id="rId4" Type="http://schemas.openxmlformats.org/officeDocument/2006/relationships/image" Target="../media/image1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2.xml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8.png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 for Management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 smtClean="0">
              <a:solidFill>
                <a:schemeClr val="tx1"/>
              </a:solidFill>
            </a:endParaRPr>
          </a:p>
          <a:p>
            <a:r>
              <a:rPr lang="en-US" dirty="0" smtClean="0"/>
              <a:t>Exponential &amp; Logarithmic Functions</a:t>
            </a:r>
            <a:endParaRPr lang="en-US" dirty="0" smtClean="0">
              <a:solidFill>
                <a:schemeClr val="tx1"/>
              </a:solidFill>
            </a:endParaRPr>
          </a:p>
          <a:p>
            <a:r>
              <a:rPr lang="en-US" smtClean="0"/>
              <a:t>week 7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251520" y="1347614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8604448" y="1347614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7092280" y="3291830"/>
            <a:ext cx="1800200" cy="1717159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92075" lvl="1" indent="-92075">
              <a:spcAft>
                <a:spcPts val="30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Recap: Exponential &amp; logarithmic functions – incl. inverse functions</a:t>
            </a:r>
          </a:p>
          <a:p>
            <a:pPr marL="92075" lvl="1" indent="-92075">
              <a:spcAft>
                <a:spcPts val="30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Hyperbolic sine and cosine: </a:t>
            </a:r>
            <a:r>
              <a:rPr lang="en-US" sz="1200" dirty="0" err="1" smtClean="0">
                <a:solidFill>
                  <a:schemeClr val="tx1"/>
                </a:solidFill>
              </a:rPr>
              <a:t>sinh</a:t>
            </a:r>
            <a:r>
              <a:rPr lang="en-US" sz="1200" dirty="0" smtClean="0">
                <a:solidFill>
                  <a:schemeClr val="tx1"/>
                </a:solidFill>
              </a:rPr>
              <a:t>(x) &amp; </a:t>
            </a:r>
            <a:r>
              <a:rPr lang="en-US" sz="1200" dirty="0" err="1" smtClean="0">
                <a:solidFill>
                  <a:schemeClr val="tx1"/>
                </a:solidFill>
              </a:rPr>
              <a:t>cosh</a:t>
            </a:r>
            <a:r>
              <a:rPr lang="en-US" sz="1200" dirty="0" smtClean="0">
                <a:solidFill>
                  <a:schemeClr val="tx1"/>
                </a:solidFill>
              </a:rPr>
              <a:t>(x)</a:t>
            </a:r>
          </a:p>
          <a:p>
            <a:pPr marL="92075" lvl="1" indent="-92075">
              <a:spcAft>
                <a:spcPts val="30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Continuous compounding</a:t>
            </a:r>
          </a:p>
        </p:txBody>
      </p:sp>
      <p:sp>
        <p:nvSpPr>
          <p:cNvPr id="9" name="Rechteck 8"/>
          <p:cNvSpPr/>
          <p:nvPr/>
        </p:nvSpPr>
        <p:spPr>
          <a:xfrm>
            <a:off x="7092280" y="2931790"/>
            <a:ext cx="1800200" cy="288032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Lecture</a:t>
            </a:r>
            <a:endParaRPr lang="en-US" sz="14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Exponential function and logarithmic function</a:t>
            </a:r>
            <a:endParaRPr lang="en-US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92573" y="1072475"/>
            <a:ext cx="2282837" cy="20466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hteck 5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Grafik 1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8" y="1203595"/>
            <a:ext cx="5326424" cy="3558725"/>
          </a:xfrm>
          <a:prstGeom prst="rect">
            <a:avLst/>
          </a:prstGeom>
          <a:noFill/>
          <a:ln/>
          <a:effectLst/>
        </p:spPr>
      </p:pic>
      <p:sp>
        <p:nvSpPr>
          <p:cNvPr id="17" name="Abgerundetes Rechteck 16"/>
          <p:cNvSpPr/>
          <p:nvPr/>
        </p:nvSpPr>
        <p:spPr>
          <a:xfrm>
            <a:off x="4139952" y="4443958"/>
            <a:ext cx="4032448" cy="432048"/>
          </a:xfrm>
          <a:prstGeom prst="round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Exponential function and the natural logarithm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4" name="Grafik 23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3491878" y="1203599"/>
            <a:ext cx="5326898" cy="3749375"/>
          </a:xfrm>
          <a:prstGeom prst="rect">
            <a:avLst/>
          </a:prstGeom>
          <a:noFill/>
          <a:ln/>
          <a:effectLst/>
        </p:spPr>
      </p:pic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44989" y="1092236"/>
            <a:ext cx="2170366" cy="21538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38458" y="3756700"/>
            <a:ext cx="1784226" cy="12744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5" name="Abgerundetes Rechteck 24"/>
          <p:cNvSpPr/>
          <p:nvPr/>
        </p:nvSpPr>
        <p:spPr>
          <a:xfrm>
            <a:off x="4139952" y="4195279"/>
            <a:ext cx="4032448" cy="432048"/>
          </a:xfrm>
          <a:prstGeom prst="round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properties of logarithmic functions follow from the mirroring of those of exponential functions</a:t>
            </a:r>
            <a:endParaRPr lang="en-US" dirty="0"/>
          </a:p>
        </p:txBody>
      </p:sp>
      <p:pic>
        <p:nvPicPr>
          <p:cNvPr id="3" name="Picture 2 2"/>
          <p:cNvPicPr>
            <a:picLocks noChangeAspect="1" noChangeArrowheads="1"/>
          </p:cNvPicPr>
          <p:nvPr/>
        </p:nvPicPr>
        <p:blipFill>
          <a:blip r:embed="rId3" cstate="print"/>
          <a:srcRect l="48077" b="18145"/>
          <a:stretch>
            <a:fillRect/>
          </a:stretch>
        </p:blipFill>
        <p:spPr bwMode="auto">
          <a:xfrm>
            <a:off x="251520" y="1132994"/>
            <a:ext cx="2160240" cy="18979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Rechteck 6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69020" y="1195967"/>
            <a:ext cx="5382124" cy="358712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bgerundetes Rechteck 1"/>
          <p:cNvSpPr/>
          <p:nvPr/>
        </p:nvSpPr>
        <p:spPr>
          <a:xfrm>
            <a:off x="971600" y="2119942"/>
            <a:ext cx="7200800" cy="360040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feld 2"/>
          <p:cNvSpPr txBox="1"/>
          <p:nvPr/>
        </p:nvSpPr>
        <p:spPr>
          <a:xfrm>
            <a:off x="971600" y="1131590"/>
            <a:ext cx="4944430" cy="190821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Topics</a:t>
            </a:r>
          </a:p>
          <a:p>
            <a:endParaRPr lang="en-US" sz="1000" dirty="0" smtClean="0"/>
          </a:p>
          <a:p>
            <a:pPr lvl="1"/>
            <a:r>
              <a:rPr lang="en-US" dirty="0" smtClean="0"/>
              <a:t>Recap: Exponential &amp; Logarithmic Functions</a:t>
            </a:r>
          </a:p>
          <a:p>
            <a:pPr lvl="1"/>
            <a:endParaRPr lang="en-US" b="1" dirty="0" smtClean="0"/>
          </a:p>
          <a:p>
            <a:pPr lvl="1"/>
            <a:r>
              <a:rPr lang="en-US" b="1" dirty="0" smtClean="0"/>
              <a:t>Hyperbolic Sine and Cosine: </a:t>
            </a:r>
            <a:r>
              <a:rPr lang="en-US" b="1" dirty="0" err="1" smtClean="0"/>
              <a:t>sinh</a:t>
            </a:r>
            <a:r>
              <a:rPr lang="en-US" b="1" dirty="0" smtClean="0"/>
              <a:t>(x) &amp; </a:t>
            </a:r>
            <a:r>
              <a:rPr lang="en-US" b="1" dirty="0" err="1" smtClean="0"/>
              <a:t>cosh</a:t>
            </a:r>
            <a:r>
              <a:rPr lang="en-US" b="1" dirty="0" smtClean="0"/>
              <a:t>(x)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Continuous Compounding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nalogous to the trigonometric functions that are dine fined for  the unit circle we define the hyperbolic functions for the unit hyperbola</a:t>
            </a:r>
            <a:endParaRPr lang="en-US" dirty="0"/>
          </a:p>
        </p:txBody>
      </p:sp>
      <p:pic>
        <p:nvPicPr>
          <p:cNvPr id="1028" name="Picture 4" descr="https://de-academic.com/pictures/dewiki/50/296px-Hyperbolic_functions_svg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3053052"/>
            <a:ext cx="2160240" cy="1744248"/>
          </a:xfrm>
          <a:prstGeom prst="rect">
            <a:avLst/>
          </a:prstGeom>
          <a:noFill/>
        </p:spPr>
      </p:pic>
      <p:pic>
        <p:nvPicPr>
          <p:cNvPr id="1030" name="Picture 6" descr="Datei:Sinus und Kosinus am Einheitskreis 1.sv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91967" y="1131589"/>
            <a:ext cx="1584176" cy="1584177"/>
          </a:xfrm>
          <a:prstGeom prst="rect">
            <a:avLst/>
          </a:prstGeom>
          <a:noFill/>
        </p:spPr>
      </p:pic>
      <p:sp>
        <p:nvSpPr>
          <p:cNvPr id="6" name="Rechteck 5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Grafik 13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3469020" y="1195967"/>
            <a:ext cx="5389460" cy="3757257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se hyperbolic functions are given in terms of the sum/ difference of two exponential functions</a:t>
            </a:r>
            <a:endParaRPr lang="en-US" dirty="0"/>
          </a:p>
        </p:txBody>
      </p:sp>
      <p:pic>
        <p:nvPicPr>
          <p:cNvPr id="51202" name="Picture 2" descr="Sinus Hyperbolicus und Kosinus Hyperbolicus – Serlo „Mathe für  Nicht-Freaks“ – Wikibooks, Sammlung freier Lehr-, Sach- und Fachbücher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79512" y="1131590"/>
            <a:ext cx="2880320" cy="3600400"/>
          </a:xfrm>
          <a:prstGeom prst="rect">
            <a:avLst/>
          </a:prstGeom>
          <a:noFill/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69020" y="1195967"/>
            <a:ext cx="4349847" cy="3616837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t is easily checked that the hyperbolic sine and hyperbolic cosine satisfy the defining equation of a hyperbola for all elements of their domain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7"/>
            <a:ext cx="6730831" cy="1476205"/>
          </a:xfrm>
          <a:prstGeom prst="rect">
            <a:avLst/>
          </a:prstGeom>
          <a:noFill/>
          <a:ln/>
          <a:effectLst/>
        </p:spPr>
      </p:pic>
      <p:pic>
        <p:nvPicPr>
          <p:cNvPr id="10" name="Picture 4" descr="https://de-academic.com/pictures/dewiki/50/296px-Hyperbolic_functions_svg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1520" y="1203598"/>
            <a:ext cx="1426904" cy="1152128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Properties of the hyperbolic cosine</a:t>
            </a:r>
            <a:endParaRPr lang="en-US" dirty="0"/>
          </a:p>
        </p:txBody>
      </p:sp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1059582"/>
            <a:ext cx="2808312" cy="2808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2" name="Rechteck 11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Grafik 1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69021" y="1195966"/>
            <a:ext cx="4926885" cy="2600084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Derivatives of the hyperbolic function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Grafik 11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91"/>
            <a:ext cx="6694078" cy="365410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hyperbolic cosine describes the behavior of a chain under gravitation; a statically very interesting behavior exploited e.g. by </a:t>
            </a:r>
            <a:r>
              <a:rPr lang="en-US" dirty="0" err="1" smtClean="0"/>
              <a:t>Antoni</a:t>
            </a:r>
            <a:r>
              <a:rPr lang="en-US" dirty="0" smtClean="0"/>
              <a:t> Gaudi</a:t>
            </a:r>
            <a:endParaRPr lang="en-US" dirty="0"/>
          </a:p>
        </p:txBody>
      </p:sp>
      <p:pic>
        <p:nvPicPr>
          <p:cNvPr id="1026" name="Picture 2" descr="https://upload.wikimedia.org/wikipedia/commons/f/fa/Maqueta_funicular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51519" y="1131590"/>
            <a:ext cx="2916325" cy="3888432"/>
          </a:xfrm>
          <a:prstGeom prst="rect">
            <a:avLst/>
          </a:prstGeom>
          <a:noFill/>
        </p:spPr>
      </p:pic>
      <p:sp>
        <p:nvSpPr>
          <p:cNvPr id="5" name="Pfeil nach rechts 4"/>
          <p:cNvSpPr/>
          <p:nvPr/>
        </p:nvSpPr>
        <p:spPr>
          <a:xfrm>
            <a:off x="3275856" y="3507854"/>
            <a:ext cx="2592288" cy="288032"/>
          </a:xfrm>
          <a:prstGeom prst="rightArrow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30" name="Picture 6" descr="https://upload.wikimedia.org/wikipedia/commons/7/72/Antoni_Gaudi_1878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23928" y="1131589"/>
            <a:ext cx="1289220" cy="1753737"/>
          </a:xfrm>
          <a:prstGeom prst="rect">
            <a:avLst/>
          </a:prstGeom>
          <a:noFill/>
        </p:spPr>
      </p:pic>
      <p:sp>
        <p:nvSpPr>
          <p:cNvPr id="8" name="Textfeld 7"/>
          <p:cNvSpPr txBox="1"/>
          <p:nvPr/>
        </p:nvSpPr>
        <p:spPr>
          <a:xfrm>
            <a:off x="3707904" y="2931790"/>
            <a:ext cx="176247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400" dirty="0" smtClean="0"/>
              <a:t>Antoni Gaudí i </a:t>
            </a:r>
            <a:r>
              <a:rPr lang="de-DE" sz="1400" dirty="0" err="1" smtClean="0"/>
              <a:t>Cornet</a:t>
            </a:r>
            <a:endParaRPr lang="de-DE" sz="1400" dirty="0" smtClean="0"/>
          </a:p>
          <a:p>
            <a:pPr algn="ctr"/>
            <a:r>
              <a:rPr lang="de-DE" sz="1400" dirty="0" smtClean="0"/>
              <a:t>(1852 – 1926)</a:t>
            </a:r>
            <a:endParaRPr lang="en-US" sz="1400" dirty="0"/>
          </a:p>
        </p:txBody>
      </p:sp>
      <p:pic>
        <p:nvPicPr>
          <p:cNvPr id="1032" name="Picture 8" descr="Barcelona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972359" y="1131590"/>
            <a:ext cx="2920121" cy="3888432"/>
          </a:xfrm>
          <a:prstGeom prst="rect">
            <a:avLst/>
          </a:prstGeom>
          <a:noFill/>
        </p:spPr>
      </p:pic>
      <p:sp>
        <p:nvSpPr>
          <p:cNvPr id="10" name="Rechteck 9"/>
          <p:cNvSpPr/>
          <p:nvPr/>
        </p:nvSpPr>
        <p:spPr>
          <a:xfrm>
            <a:off x="2771800" y="3939902"/>
            <a:ext cx="3600400" cy="1008112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28" name="Picture 4" descr="https://upload.wikimedia.org/wikipedia/commons/7/7e/Hanging_model_of_a_stone_arch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915816" y="3985172"/>
            <a:ext cx="3312368" cy="917572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bgerundetes Rechteck 1"/>
          <p:cNvSpPr/>
          <p:nvPr/>
        </p:nvSpPr>
        <p:spPr>
          <a:xfrm>
            <a:off x="971600" y="1572521"/>
            <a:ext cx="7200800" cy="360040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feld 2"/>
          <p:cNvSpPr txBox="1"/>
          <p:nvPr/>
        </p:nvSpPr>
        <p:spPr>
          <a:xfrm>
            <a:off x="971600" y="1131590"/>
            <a:ext cx="4833759" cy="190821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Topics</a:t>
            </a:r>
          </a:p>
          <a:p>
            <a:endParaRPr lang="en-US" sz="1000" dirty="0" smtClean="0"/>
          </a:p>
          <a:p>
            <a:pPr lvl="1"/>
            <a:r>
              <a:rPr lang="en-US" b="1" dirty="0" smtClean="0"/>
              <a:t>Recap: Exponential &amp; Logarithmic Functions</a:t>
            </a:r>
          </a:p>
          <a:p>
            <a:pPr lvl="1"/>
            <a:endParaRPr lang="en-US" b="1" dirty="0" smtClean="0"/>
          </a:p>
          <a:p>
            <a:pPr lvl="1"/>
            <a:r>
              <a:rPr lang="en-US" dirty="0" smtClean="0"/>
              <a:t>Hyperbolic Sine and Cosine: </a:t>
            </a:r>
            <a:r>
              <a:rPr lang="en-US" dirty="0" err="1" smtClean="0"/>
              <a:t>sinh</a:t>
            </a:r>
            <a:r>
              <a:rPr lang="en-US" dirty="0" smtClean="0"/>
              <a:t>(x) &amp; </a:t>
            </a:r>
            <a:r>
              <a:rPr lang="en-US" dirty="0" err="1" smtClean="0"/>
              <a:t>cosh</a:t>
            </a:r>
            <a:r>
              <a:rPr lang="en-US" dirty="0" smtClean="0"/>
              <a:t>(x)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Continuous Compounding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bgerundetes Rechteck 1"/>
          <p:cNvSpPr/>
          <p:nvPr/>
        </p:nvSpPr>
        <p:spPr>
          <a:xfrm>
            <a:off x="971600" y="2676580"/>
            <a:ext cx="7200800" cy="360040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feld 2"/>
          <p:cNvSpPr txBox="1"/>
          <p:nvPr/>
        </p:nvSpPr>
        <p:spPr>
          <a:xfrm>
            <a:off x="971600" y="1131590"/>
            <a:ext cx="4868320" cy="190821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Topics</a:t>
            </a:r>
          </a:p>
          <a:p>
            <a:endParaRPr lang="en-US" sz="1000" dirty="0" smtClean="0"/>
          </a:p>
          <a:p>
            <a:pPr lvl="1"/>
            <a:r>
              <a:rPr lang="en-US" dirty="0" smtClean="0"/>
              <a:t>Recap: Exponential &amp; Logarithmic Functions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Hyperbolic Sine and Cosine: </a:t>
            </a:r>
            <a:r>
              <a:rPr lang="en-US" dirty="0" err="1" smtClean="0"/>
              <a:t>sinh</a:t>
            </a:r>
            <a:r>
              <a:rPr lang="en-US" dirty="0" smtClean="0"/>
              <a:t>(x) &amp; </a:t>
            </a:r>
            <a:r>
              <a:rPr lang="en-US" dirty="0" err="1" smtClean="0"/>
              <a:t>cosh</a:t>
            </a:r>
            <a:r>
              <a:rPr lang="en-US" dirty="0" smtClean="0"/>
              <a:t>(x)</a:t>
            </a:r>
          </a:p>
          <a:p>
            <a:pPr lvl="1"/>
            <a:endParaRPr lang="en-US" b="1" dirty="0" smtClean="0"/>
          </a:p>
          <a:p>
            <a:pPr lvl="1"/>
            <a:r>
              <a:rPr lang="en-US" b="1" dirty="0" smtClean="0"/>
              <a:t>Continuous Compounding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otivating the formula for continuous compounding of interest (1/ 4)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89"/>
            <a:ext cx="7036951" cy="3605756"/>
          </a:xfrm>
          <a:prstGeom prst="rect">
            <a:avLst/>
          </a:prstGeom>
          <a:noFill/>
          <a:ln/>
          <a:effectLst/>
        </p:spPr>
      </p:pic>
      <p:sp>
        <p:nvSpPr>
          <p:cNvPr id="5" name="Rechteck 4"/>
          <p:cNvSpPr/>
          <p:nvPr/>
        </p:nvSpPr>
        <p:spPr>
          <a:xfrm>
            <a:off x="251520" y="1131590"/>
            <a:ext cx="1296144" cy="720080"/>
          </a:xfrm>
          <a:prstGeom prst="rec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Continuous Compounding of Interest</a:t>
            </a:r>
            <a:endParaRPr lang="en-US" sz="14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4" descr="https://betterexplained.com/wp-content/uploads/interest/compound_interest_factory.png"/>
          <p:cNvPicPr>
            <a:picLocks noChangeAspect="1" noChangeArrowheads="1"/>
          </p:cNvPicPr>
          <p:nvPr/>
        </p:nvPicPr>
        <p:blipFill>
          <a:blip r:embed="rId4" cstate="print"/>
          <a:srcRect t="26238"/>
          <a:stretch>
            <a:fillRect/>
          </a:stretch>
        </p:blipFill>
        <p:spPr bwMode="auto">
          <a:xfrm>
            <a:off x="5298008" y="3435846"/>
            <a:ext cx="3738488" cy="1577330"/>
          </a:xfrm>
          <a:prstGeom prst="rect">
            <a:avLst/>
          </a:prstGeom>
          <a:noFill/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otivating the formula for continuous compounding of interest (2/ 4)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Grafik 13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1203591"/>
            <a:ext cx="6826418" cy="1702315"/>
          </a:xfrm>
          <a:prstGeom prst="rect">
            <a:avLst/>
          </a:prstGeom>
          <a:noFill/>
          <a:ln/>
          <a:effectLst/>
        </p:spPr>
      </p:pic>
      <p:pic>
        <p:nvPicPr>
          <p:cNvPr id="15" name="Grafik 14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1763690" y="3062745"/>
            <a:ext cx="3338450" cy="87585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otivating the formula for continuous compounding of interest (3/ 4)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91"/>
            <a:ext cx="7047464" cy="362603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otivating the formula for continuous compounding of interest (4/ 4)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1512168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Grafik 1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1" y="1203589"/>
            <a:ext cx="7049871" cy="1358362"/>
          </a:xfrm>
          <a:prstGeom prst="rect">
            <a:avLst/>
          </a:prstGeom>
          <a:noFill/>
          <a:ln/>
          <a:effectLst/>
        </p:spPr>
      </p:pic>
      <p:sp>
        <p:nvSpPr>
          <p:cNvPr id="9" name="Rechteck 8"/>
          <p:cNvSpPr/>
          <p:nvPr/>
        </p:nvSpPr>
        <p:spPr>
          <a:xfrm>
            <a:off x="1691680" y="2787774"/>
            <a:ext cx="7200800" cy="2232248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Grafik 13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2859770"/>
            <a:ext cx="7050790" cy="209864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Computing future valu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90"/>
            <a:ext cx="7052362" cy="367137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tinuous compounding as the limit case for infinitely many compounding events </a:t>
            </a:r>
            <a:endParaRPr lang="en-US" dirty="0"/>
          </a:p>
        </p:txBody>
      </p:sp>
      <p:pic>
        <p:nvPicPr>
          <p:cNvPr id="3" name="Picture 4" descr="https://betterexplained.com/wp-content/uploads/interest/continuous_growth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24232" y="3435846"/>
            <a:ext cx="2736000" cy="1592353"/>
          </a:xfrm>
          <a:prstGeom prst="rect">
            <a:avLst/>
          </a:prstGeom>
          <a:noFill/>
        </p:spPr>
      </p:pic>
      <p:pic>
        <p:nvPicPr>
          <p:cNvPr id="5" name="Picture 2 1" descr="http://www.chemie.fu-berlin.de/fb/diverse/senf1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1519" y="2859782"/>
            <a:ext cx="2605267" cy="2160240"/>
          </a:xfrm>
          <a:prstGeom prst="rect">
            <a:avLst/>
          </a:prstGeom>
          <a:noFill/>
        </p:spPr>
      </p:pic>
      <p:pic>
        <p:nvPicPr>
          <p:cNvPr id="7" name="Picture 2 2" descr="https://betterexplained.com/wp-content/uploads/interest/compound_intererest_traj.p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51396" y="1125059"/>
            <a:ext cx="2736428" cy="1565237"/>
          </a:xfrm>
          <a:prstGeom prst="rect">
            <a:avLst/>
          </a:prstGeom>
          <a:noFill/>
        </p:spPr>
      </p:pic>
      <p:pic>
        <p:nvPicPr>
          <p:cNvPr id="8" name="Picture 6" descr="https://upload.wikimedia.org/wikipedia/commons/1/19/Jakob_Bernoulli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668344" y="1131590"/>
            <a:ext cx="1207046" cy="1349909"/>
          </a:xfrm>
          <a:prstGeom prst="rect">
            <a:avLst/>
          </a:prstGeom>
          <a:noFill/>
        </p:spPr>
      </p:pic>
      <p:sp>
        <p:nvSpPr>
          <p:cNvPr id="9" name="Textfeld 8"/>
          <p:cNvSpPr txBox="1"/>
          <p:nvPr/>
        </p:nvSpPr>
        <p:spPr>
          <a:xfrm>
            <a:off x="6084168" y="1131590"/>
            <a:ext cx="151216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/>
              <a:t>Jacob Bernoulli</a:t>
            </a:r>
            <a:r>
              <a:rPr lang="en-US" sz="1400" dirty="0" smtClean="0"/>
              <a:t> (1655 - 1705)</a:t>
            </a:r>
            <a:endParaRPr lang="de-DE" sz="1400" dirty="0"/>
          </a:p>
        </p:txBody>
      </p:sp>
      <p:sp>
        <p:nvSpPr>
          <p:cNvPr id="4" name="Freeform 37"/>
          <p:cNvSpPr>
            <a:spLocks/>
          </p:cNvSpPr>
          <p:nvPr/>
        </p:nvSpPr>
        <p:spPr bwMode="auto">
          <a:xfrm rot="8951721" flipH="1" flipV="1">
            <a:off x="3246383" y="1971302"/>
            <a:ext cx="990589" cy="1845108"/>
          </a:xfrm>
          <a:custGeom>
            <a:avLst/>
            <a:gdLst/>
            <a:ahLst/>
            <a:cxnLst>
              <a:cxn ang="0">
                <a:pos x="75" y="36"/>
              </a:cxn>
              <a:cxn ang="0">
                <a:pos x="174" y="87"/>
              </a:cxn>
              <a:cxn ang="0">
                <a:pos x="285" y="162"/>
              </a:cxn>
              <a:cxn ang="0">
                <a:pos x="417" y="282"/>
              </a:cxn>
              <a:cxn ang="0">
                <a:pos x="513" y="405"/>
              </a:cxn>
              <a:cxn ang="0">
                <a:pos x="591" y="528"/>
              </a:cxn>
              <a:cxn ang="0">
                <a:pos x="657" y="666"/>
              </a:cxn>
              <a:cxn ang="0">
                <a:pos x="717" y="813"/>
              </a:cxn>
              <a:cxn ang="0">
                <a:pos x="762" y="969"/>
              </a:cxn>
              <a:cxn ang="0">
                <a:pos x="792" y="1149"/>
              </a:cxn>
              <a:cxn ang="0">
                <a:pos x="813" y="1332"/>
              </a:cxn>
              <a:cxn ang="0">
                <a:pos x="813" y="1479"/>
              </a:cxn>
              <a:cxn ang="0">
                <a:pos x="804" y="1635"/>
              </a:cxn>
              <a:cxn ang="0">
                <a:pos x="780" y="1785"/>
              </a:cxn>
              <a:cxn ang="0">
                <a:pos x="591" y="1830"/>
              </a:cxn>
              <a:cxn ang="0">
                <a:pos x="1149" y="1971"/>
              </a:cxn>
              <a:cxn ang="0">
                <a:pos x="1008" y="1869"/>
              </a:cxn>
              <a:cxn ang="0">
                <a:pos x="1038" y="1716"/>
              </a:cxn>
              <a:cxn ang="0">
                <a:pos x="1050" y="1566"/>
              </a:cxn>
              <a:cxn ang="0">
                <a:pos x="1053" y="1395"/>
              </a:cxn>
              <a:cxn ang="0">
                <a:pos x="1035" y="1206"/>
              </a:cxn>
              <a:cxn ang="0">
                <a:pos x="1005" y="1050"/>
              </a:cxn>
              <a:cxn ang="0">
                <a:pos x="963" y="900"/>
              </a:cxn>
              <a:cxn ang="0">
                <a:pos x="912" y="762"/>
              </a:cxn>
              <a:cxn ang="0">
                <a:pos x="837" y="603"/>
              </a:cxn>
              <a:cxn ang="0">
                <a:pos x="750" y="462"/>
              </a:cxn>
              <a:cxn ang="0">
                <a:pos x="669" y="363"/>
              </a:cxn>
              <a:cxn ang="0">
                <a:pos x="558" y="249"/>
              </a:cxn>
              <a:cxn ang="0">
                <a:pos x="433" y="157"/>
              </a:cxn>
              <a:cxn ang="0">
                <a:pos x="297" y="81"/>
              </a:cxn>
              <a:cxn ang="0">
                <a:pos x="153" y="24"/>
              </a:cxn>
              <a:cxn ang="0">
                <a:pos x="0" y="0"/>
              </a:cxn>
            </a:cxnLst>
            <a:rect l="0" t="0" r="r" b="b"/>
            <a:pathLst>
              <a:path w="1149" h="2226">
                <a:moveTo>
                  <a:pt x="6" y="6"/>
                </a:moveTo>
                <a:lnTo>
                  <a:pt x="75" y="36"/>
                </a:lnTo>
                <a:lnTo>
                  <a:pt x="129" y="60"/>
                </a:lnTo>
                <a:lnTo>
                  <a:pt x="174" y="87"/>
                </a:lnTo>
                <a:lnTo>
                  <a:pt x="228" y="120"/>
                </a:lnTo>
                <a:lnTo>
                  <a:pt x="285" y="162"/>
                </a:lnTo>
                <a:lnTo>
                  <a:pt x="342" y="210"/>
                </a:lnTo>
                <a:lnTo>
                  <a:pt x="417" y="282"/>
                </a:lnTo>
                <a:lnTo>
                  <a:pt x="465" y="345"/>
                </a:lnTo>
                <a:lnTo>
                  <a:pt x="513" y="405"/>
                </a:lnTo>
                <a:lnTo>
                  <a:pt x="549" y="462"/>
                </a:lnTo>
                <a:lnTo>
                  <a:pt x="591" y="528"/>
                </a:lnTo>
                <a:lnTo>
                  <a:pt x="627" y="603"/>
                </a:lnTo>
                <a:lnTo>
                  <a:pt x="657" y="666"/>
                </a:lnTo>
                <a:lnTo>
                  <a:pt x="684" y="723"/>
                </a:lnTo>
                <a:lnTo>
                  <a:pt x="717" y="813"/>
                </a:lnTo>
                <a:lnTo>
                  <a:pt x="738" y="894"/>
                </a:lnTo>
                <a:lnTo>
                  <a:pt x="762" y="969"/>
                </a:lnTo>
                <a:lnTo>
                  <a:pt x="777" y="1056"/>
                </a:lnTo>
                <a:lnTo>
                  <a:pt x="792" y="1149"/>
                </a:lnTo>
                <a:lnTo>
                  <a:pt x="807" y="1239"/>
                </a:lnTo>
                <a:lnTo>
                  <a:pt x="813" y="1332"/>
                </a:lnTo>
                <a:lnTo>
                  <a:pt x="813" y="1410"/>
                </a:lnTo>
                <a:lnTo>
                  <a:pt x="813" y="1479"/>
                </a:lnTo>
                <a:lnTo>
                  <a:pt x="810" y="1560"/>
                </a:lnTo>
                <a:lnTo>
                  <a:pt x="804" y="1635"/>
                </a:lnTo>
                <a:lnTo>
                  <a:pt x="792" y="1710"/>
                </a:lnTo>
                <a:lnTo>
                  <a:pt x="780" y="1785"/>
                </a:lnTo>
                <a:lnTo>
                  <a:pt x="762" y="1869"/>
                </a:lnTo>
                <a:lnTo>
                  <a:pt x="591" y="1830"/>
                </a:lnTo>
                <a:lnTo>
                  <a:pt x="786" y="2226"/>
                </a:lnTo>
                <a:lnTo>
                  <a:pt x="1149" y="1971"/>
                </a:lnTo>
                <a:lnTo>
                  <a:pt x="990" y="1932"/>
                </a:lnTo>
                <a:lnTo>
                  <a:pt x="1008" y="1869"/>
                </a:lnTo>
                <a:lnTo>
                  <a:pt x="1023" y="1797"/>
                </a:lnTo>
                <a:lnTo>
                  <a:pt x="1038" y="1716"/>
                </a:lnTo>
                <a:lnTo>
                  <a:pt x="1047" y="1644"/>
                </a:lnTo>
                <a:lnTo>
                  <a:pt x="1050" y="1566"/>
                </a:lnTo>
                <a:lnTo>
                  <a:pt x="1053" y="1482"/>
                </a:lnTo>
                <a:lnTo>
                  <a:pt x="1053" y="1395"/>
                </a:lnTo>
                <a:lnTo>
                  <a:pt x="1047" y="1299"/>
                </a:lnTo>
                <a:lnTo>
                  <a:pt x="1035" y="1206"/>
                </a:lnTo>
                <a:lnTo>
                  <a:pt x="1020" y="1113"/>
                </a:lnTo>
                <a:lnTo>
                  <a:pt x="1005" y="1050"/>
                </a:lnTo>
                <a:lnTo>
                  <a:pt x="987" y="975"/>
                </a:lnTo>
                <a:lnTo>
                  <a:pt x="963" y="900"/>
                </a:lnTo>
                <a:lnTo>
                  <a:pt x="942" y="831"/>
                </a:lnTo>
                <a:lnTo>
                  <a:pt x="912" y="762"/>
                </a:lnTo>
                <a:lnTo>
                  <a:pt x="879" y="684"/>
                </a:lnTo>
                <a:lnTo>
                  <a:pt x="837" y="603"/>
                </a:lnTo>
                <a:lnTo>
                  <a:pt x="798" y="534"/>
                </a:lnTo>
                <a:lnTo>
                  <a:pt x="750" y="462"/>
                </a:lnTo>
                <a:lnTo>
                  <a:pt x="711" y="408"/>
                </a:lnTo>
                <a:lnTo>
                  <a:pt x="669" y="363"/>
                </a:lnTo>
                <a:lnTo>
                  <a:pt x="615" y="309"/>
                </a:lnTo>
                <a:lnTo>
                  <a:pt x="558" y="249"/>
                </a:lnTo>
                <a:lnTo>
                  <a:pt x="501" y="201"/>
                </a:lnTo>
                <a:lnTo>
                  <a:pt x="433" y="157"/>
                </a:lnTo>
                <a:lnTo>
                  <a:pt x="366" y="114"/>
                </a:lnTo>
                <a:lnTo>
                  <a:pt x="297" y="81"/>
                </a:lnTo>
                <a:lnTo>
                  <a:pt x="225" y="51"/>
                </a:lnTo>
                <a:lnTo>
                  <a:pt x="153" y="24"/>
                </a:lnTo>
                <a:lnTo>
                  <a:pt x="81" y="9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85000"/>
            </a:schemeClr>
          </a:solidFill>
          <a:ln w="12700" cap="flat" cmpd="sng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12" name="Rechteck 11"/>
          <p:cNvSpPr/>
          <p:nvPr/>
        </p:nvSpPr>
        <p:spPr>
          <a:xfrm>
            <a:off x="3491880" y="2499742"/>
            <a:ext cx="864096" cy="5040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7" cstate="print"/>
          <a:stretch>
            <a:fillRect/>
          </a:stretch>
        </p:blipFill>
        <p:spPr>
          <a:xfrm>
            <a:off x="3239952" y="2571750"/>
            <a:ext cx="3996344" cy="36390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otivating the formula for present vale (1/ 2)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251520" y="1131590"/>
            <a:ext cx="1296144" cy="720080"/>
          </a:xfrm>
          <a:prstGeom prst="rec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Present</a:t>
            </a:r>
          </a:p>
          <a:p>
            <a:pPr algn="ctr"/>
            <a:r>
              <a:rPr lang="en-US" sz="1400" dirty="0" smtClean="0"/>
              <a:t>Value</a:t>
            </a:r>
            <a:endParaRPr lang="en-US" sz="1400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90"/>
            <a:ext cx="7050349" cy="3765313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otivating the formula for present vale (2/ 2)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1080120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90"/>
            <a:ext cx="5216087" cy="936979"/>
          </a:xfrm>
          <a:prstGeom prst="rect">
            <a:avLst/>
          </a:prstGeom>
          <a:noFill/>
          <a:ln/>
          <a:effectLst/>
        </p:spPr>
      </p:pic>
      <p:sp>
        <p:nvSpPr>
          <p:cNvPr id="7" name="Rechteck 6"/>
          <p:cNvSpPr/>
          <p:nvPr/>
        </p:nvSpPr>
        <p:spPr>
          <a:xfrm>
            <a:off x="1691680" y="2355726"/>
            <a:ext cx="7200800" cy="2664296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2427728"/>
            <a:ext cx="7051504" cy="250552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present valu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90"/>
            <a:ext cx="7062991" cy="3718133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cap:</a:t>
            </a:r>
            <a:br>
              <a:rPr lang="en-US" dirty="0" smtClean="0"/>
            </a:br>
            <a:r>
              <a:rPr lang="en-US" dirty="0" smtClean="0"/>
              <a:t>You already know exponential functions and their properties</a:t>
            </a:r>
            <a:endParaRPr lang="en-US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1131590"/>
            <a:ext cx="2880320" cy="12731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Grafik 13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80" y="1203600"/>
            <a:ext cx="5334559" cy="3708259"/>
          </a:xfrm>
          <a:prstGeom prst="rect">
            <a:avLst/>
          </a:prstGeom>
          <a:noFill/>
          <a:ln/>
          <a:effectLst/>
        </p:spPr>
      </p:pic>
      <p:sp>
        <p:nvSpPr>
          <p:cNvPr id="6" name="Rechteck 5"/>
          <p:cNvSpPr/>
          <p:nvPr/>
        </p:nvSpPr>
        <p:spPr>
          <a:xfrm>
            <a:off x="0" y="843558"/>
            <a:ext cx="179512" cy="4299942"/>
          </a:xfrm>
          <a:prstGeom prst="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otivating the formula for effective interest rates (1/ 2)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251520" y="1131590"/>
            <a:ext cx="1296144" cy="720080"/>
          </a:xfrm>
          <a:prstGeom prst="rec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Effective Interest Rate</a:t>
            </a:r>
            <a:endParaRPr lang="en-US" sz="1400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Grafik 11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90"/>
            <a:ext cx="7054824" cy="357164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otivating the formula for effective interest rates (2/ 2)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1080120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90"/>
            <a:ext cx="5275942" cy="937728"/>
          </a:xfrm>
          <a:prstGeom prst="rect">
            <a:avLst/>
          </a:prstGeom>
          <a:noFill/>
          <a:ln/>
          <a:effectLst/>
        </p:spPr>
      </p:pic>
      <p:sp>
        <p:nvSpPr>
          <p:cNvPr id="7" name="Rechteck 6"/>
          <p:cNvSpPr/>
          <p:nvPr/>
        </p:nvSpPr>
        <p:spPr>
          <a:xfrm>
            <a:off x="1691680" y="2355726"/>
            <a:ext cx="7200800" cy="2664296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2427727"/>
            <a:ext cx="7058534" cy="2445444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Comparing two investment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9"/>
            <a:ext cx="7062991" cy="3317795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Comparing two investment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9"/>
            <a:ext cx="7062722" cy="3740236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Reaching an investment goal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251520" y="1131590"/>
            <a:ext cx="1296144" cy="720080"/>
          </a:xfrm>
          <a:prstGeom prst="rec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Logarithms in Compounding Applications</a:t>
            </a:r>
            <a:endParaRPr lang="en-US" sz="1400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9"/>
            <a:ext cx="7067822" cy="376528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Reaching an investment goal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89"/>
            <a:ext cx="7063243" cy="3313243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Continuously Compounded Interest</a:t>
            </a:r>
            <a:endParaRPr lang="en-US" dirty="0"/>
          </a:p>
        </p:txBody>
      </p:sp>
      <p:pic>
        <p:nvPicPr>
          <p:cNvPr id="46082" name="Picture 2" descr="https://content.artofmanliness.com/uploads/2018/07/Power-of-Compound-Interest-1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51520" y="1131590"/>
            <a:ext cx="5184576" cy="3909554"/>
          </a:xfrm>
          <a:prstGeom prst="rect">
            <a:avLst/>
          </a:prstGeom>
          <a:noFill/>
        </p:spPr>
      </p:pic>
      <p:pic>
        <p:nvPicPr>
          <p:cNvPr id="4" name="Picture 2" descr="https://content.artofmanliness.com/uploads/2018/07/Power-of-Compound-Interest-1.jpg"/>
          <p:cNvPicPr>
            <a:picLocks noChangeAspect="1" noChangeArrowheads="1"/>
          </p:cNvPicPr>
          <p:nvPr/>
        </p:nvPicPr>
        <p:blipFill>
          <a:blip r:embed="rId3" cstate="print"/>
          <a:srcRect r="90278" b="92633"/>
          <a:stretch>
            <a:fillRect/>
          </a:stretch>
        </p:blipFill>
        <p:spPr bwMode="auto">
          <a:xfrm>
            <a:off x="4139952" y="1184548"/>
            <a:ext cx="1224136" cy="288032"/>
          </a:xfrm>
          <a:prstGeom prst="rect">
            <a:avLst/>
          </a:prstGeom>
          <a:noFill/>
        </p:spPr>
      </p:pic>
      <p:sp>
        <p:nvSpPr>
          <p:cNvPr id="5" name="Rechteck 4"/>
          <p:cNvSpPr/>
          <p:nvPr/>
        </p:nvSpPr>
        <p:spPr>
          <a:xfrm>
            <a:off x="6012160" y="1131590"/>
            <a:ext cx="2880320" cy="1080120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What do you think about this cartoon?</a:t>
            </a:r>
          </a:p>
          <a:p>
            <a:pPr algn="ctr"/>
            <a:endParaRPr lang="en-US" sz="1400" dirty="0" smtClean="0">
              <a:solidFill>
                <a:schemeClr val="tx1"/>
              </a:solidFill>
            </a:endParaRPr>
          </a:p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Is this investment strategy feasible?</a:t>
            </a:r>
            <a:endParaRPr lang="en-US" sz="140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 descr="Netz, Netzwerk, Digitalisierung, Transformation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012160" y="845100"/>
            <a:ext cx="3131840" cy="4298400"/>
          </a:xfrm>
          <a:prstGeom prst="rect">
            <a:avLst/>
          </a:prstGeom>
          <a:noFill/>
        </p:spPr>
      </p:pic>
      <p:sp>
        <p:nvSpPr>
          <p:cNvPr id="8" name="Titel 1"/>
          <p:cNvSpPr txBox="1">
            <a:spLocks/>
          </p:cNvSpPr>
          <p:nvPr/>
        </p:nvSpPr>
        <p:spPr>
          <a:xfrm>
            <a:off x="683568" y="1131590"/>
            <a:ext cx="4176464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anchor="ctr"/>
          <a:lstStyle>
            <a:lvl1pPr algn="ctr">
              <a:defRPr/>
            </a:lvl1pPr>
          </a:lstStyle>
          <a:p>
            <a:pPr lvl="0">
              <a:spcBef>
                <a:spcPct val="0"/>
              </a:spcBef>
              <a:defRPr/>
            </a:pPr>
            <a:r>
              <a:rPr lang="en-US" sz="2000" dirty="0" smtClean="0">
                <a:solidFill>
                  <a:schemeClr val="bg1"/>
                </a:solidFill>
              </a:rPr>
              <a:t>Further Worked-Out </a:t>
            </a:r>
            <a:r>
              <a:rPr kumimoji="0" lang="en-US" sz="20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Exercises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500" b="0" i="0" u="none" strike="noStrike" kern="1200" cap="none" spc="0" normalizeH="0" baseline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smtClean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Calculus I </a:t>
            </a:r>
            <a:r>
              <a:rPr lang="en-US" sz="2000" dirty="0" smtClean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for Management</a:t>
            </a:r>
            <a:endParaRPr kumimoji="0" lang="en-US" sz="2000" b="0" i="0" u="none" strike="noStrike" kern="1200" cap="none" spc="0" normalizeH="0" baseline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251520" y="1131590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2" name="Rechteck 11"/>
          <p:cNvSpPr/>
          <p:nvPr/>
        </p:nvSpPr>
        <p:spPr>
          <a:xfrm>
            <a:off x="5004048" y="1131590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7" name="Grafik 6" descr="index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79512" y="4425290"/>
            <a:ext cx="1872207" cy="582154"/>
          </a:xfrm>
          <a:prstGeom prst="rect">
            <a:avLst/>
          </a:prstGeom>
        </p:spPr>
      </p:pic>
      <p:sp>
        <p:nvSpPr>
          <p:cNvPr id="10" name="Rechteck 9"/>
          <p:cNvSpPr/>
          <p:nvPr/>
        </p:nvSpPr>
        <p:spPr>
          <a:xfrm>
            <a:off x="7092280" y="3291830"/>
            <a:ext cx="1800200" cy="1717159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92075" lvl="1" indent="-92075">
              <a:spcAft>
                <a:spcPts val="30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Continuous compounding</a:t>
            </a:r>
          </a:p>
        </p:txBody>
      </p:sp>
      <p:sp>
        <p:nvSpPr>
          <p:cNvPr id="13" name="Rechteck 12"/>
          <p:cNvSpPr/>
          <p:nvPr/>
        </p:nvSpPr>
        <p:spPr>
          <a:xfrm>
            <a:off x="7092280" y="2931790"/>
            <a:ext cx="1800200" cy="288032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Topics</a:t>
            </a:r>
            <a:endParaRPr lang="en-US" sz="14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Finding doubling time for an investment</a:t>
            </a:r>
            <a:endParaRPr lang="en-US" dirty="0"/>
          </a:p>
        </p:txBody>
      </p:sp>
      <p:sp>
        <p:nvSpPr>
          <p:cNvPr id="5" name="Rechteck 4"/>
          <p:cNvSpPr/>
          <p:nvPr/>
        </p:nvSpPr>
        <p:spPr>
          <a:xfrm>
            <a:off x="1691680" y="1131590"/>
            <a:ext cx="7200800" cy="1512168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Grafik 1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89"/>
            <a:ext cx="7050661" cy="1339647"/>
          </a:xfrm>
          <a:prstGeom prst="rect">
            <a:avLst/>
          </a:prstGeom>
          <a:noFill/>
          <a:ln/>
          <a:effectLst/>
        </p:spPr>
      </p:pic>
      <p:sp>
        <p:nvSpPr>
          <p:cNvPr id="7" name="Rechteck 6"/>
          <p:cNvSpPr/>
          <p:nvPr/>
        </p:nvSpPr>
        <p:spPr>
          <a:xfrm>
            <a:off x="1691680" y="2715766"/>
            <a:ext cx="7200800" cy="2304256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Grafik 13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2787765"/>
            <a:ext cx="7047711" cy="2105278"/>
          </a:xfrm>
          <a:prstGeom prst="rect">
            <a:avLst/>
          </a:prstGeom>
          <a:noFill/>
          <a:ln/>
          <a:effectLst/>
        </p:spPr>
      </p:pic>
      <p:sp>
        <p:nvSpPr>
          <p:cNvPr id="16" name="Rechteck 15"/>
          <p:cNvSpPr/>
          <p:nvPr/>
        </p:nvSpPr>
        <p:spPr>
          <a:xfrm>
            <a:off x="251520" y="1923678"/>
            <a:ext cx="1296144" cy="720080"/>
          </a:xfrm>
          <a:prstGeom prst="rect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please, upload your solutions to the chat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" name="Rechteck 16"/>
          <p:cNvSpPr/>
          <p:nvPr/>
        </p:nvSpPr>
        <p:spPr>
          <a:xfrm>
            <a:off x="251520" y="1131590"/>
            <a:ext cx="1296144" cy="720080"/>
          </a:xfrm>
          <a:prstGeom prst="rect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10 minutes</a:t>
            </a:r>
          </a:p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self/ group work</a:t>
            </a:r>
            <a:endParaRPr lang="en-US" sz="140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Finding doubling time for an investment</a:t>
            </a:r>
            <a:endParaRPr lang="en-US" dirty="0"/>
          </a:p>
        </p:txBody>
      </p:sp>
      <p:sp>
        <p:nvSpPr>
          <p:cNvPr id="7" name="Rechteck 6"/>
          <p:cNvSpPr/>
          <p:nvPr/>
        </p:nvSpPr>
        <p:spPr>
          <a:xfrm>
            <a:off x="1691680" y="1131590"/>
            <a:ext cx="7200800" cy="1872208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89"/>
            <a:ext cx="7051573" cy="1738735"/>
          </a:xfrm>
          <a:prstGeom prst="rect">
            <a:avLst/>
          </a:prstGeom>
          <a:noFill/>
          <a:ln/>
          <a:effectLst/>
        </p:spPr>
      </p:pic>
      <p:sp>
        <p:nvSpPr>
          <p:cNvPr id="9" name="Rechteck 8"/>
          <p:cNvSpPr/>
          <p:nvPr/>
        </p:nvSpPr>
        <p:spPr>
          <a:xfrm>
            <a:off x="1691680" y="3147814"/>
            <a:ext cx="7200800" cy="1872208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9" name="Grafik 18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3219810"/>
            <a:ext cx="6572832" cy="1711905"/>
          </a:xfrm>
          <a:prstGeom prst="rect">
            <a:avLst/>
          </a:prstGeom>
          <a:noFill/>
          <a:ln/>
          <a:effectLst/>
        </p:spPr>
      </p:pic>
      <p:sp>
        <p:nvSpPr>
          <p:cNvPr id="20" name="Rechteck 19"/>
          <p:cNvSpPr/>
          <p:nvPr/>
        </p:nvSpPr>
        <p:spPr>
          <a:xfrm>
            <a:off x="3851920" y="3579862"/>
            <a:ext cx="2880320" cy="720080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cap:</a:t>
            </a:r>
            <a:br>
              <a:rPr lang="en-US" dirty="0" smtClean="0"/>
            </a:br>
            <a:r>
              <a:rPr lang="en-US" dirty="0" smtClean="0"/>
              <a:t>Exponential functions grow faster than power functions</a:t>
            </a:r>
            <a:endParaRPr lang="en-US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1131591"/>
            <a:ext cx="2880320" cy="13366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hteck 4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9" y="1203597"/>
            <a:ext cx="5320036" cy="2823756"/>
          </a:xfrm>
          <a:prstGeom prst="rect">
            <a:avLst/>
          </a:prstGeom>
          <a:noFill/>
          <a:ln/>
          <a:effectLst/>
        </p:spPr>
      </p:pic>
      <p:sp>
        <p:nvSpPr>
          <p:cNvPr id="8" name="Rechteck 7"/>
          <p:cNvSpPr/>
          <p:nvPr/>
        </p:nvSpPr>
        <p:spPr>
          <a:xfrm>
            <a:off x="0" y="843558"/>
            <a:ext cx="179512" cy="4299942"/>
          </a:xfrm>
          <a:prstGeom prst="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Computing an interest rate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936104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Grafik 1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89"/>
            <a:ext cx="7038536" cy="796244"/>
          </a:xfrm>
          <a:prstGeom prst="rect">
            <a:avLst/>
          </a:prstGeom>
          <a:noFill/>
          <a:ln/>
          <a:effectLst/>
        </p:spPr>
      </p:pic>
      <p:sp>
        <p:nvSpPr>
          <p:cNvPr id="7" name="Rechteck 6"/>
          <p:cNvSpPr/>
          <p:nvPr/>
        </p:nvSpPr>
        <p:spPr>
          <a:xfrm>
            <a:off x="251520" y="1923678"/>
            <a:ext cx="1296144" cy="720080"/>
          </a:xfrm>
          <a:prstGeom prst="rect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please, upload your solutions to the chat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251520" y="1131590"/>
            <a:ext cx="1296144" cy="720080"/>
          </a:xfrm>
          <a:prstGeom prst="rect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10 minutes</a:t>
            </a:r>
          </a:p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self/ group work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1691680" y="2211710"/>
            <a:ext cx="7200800" cy="2808312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9" name="Grafik 18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2283709"/>
            <a:ext cx="7055081" cy="2541770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n application of exponential growth/ decay is given by the efficiency with which an individual performs a task and the amount of training time (1/ 2)</a:t>
            </a:r>
            <a:endParaRPr lang="en-US" dirty="0"/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1131590"/>
            <a:ext cx="2880320" cy="29657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7" y="1203596"/>
            <a:ext cx="5327131" cy="380087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n application of exponential growth/ decay is given by the efficiency with which an individual performs a task and the amount of training time (2/ 2)</a:t>
            </a:r>
            <a:endParaRPr lang="en-US" dirty="0"/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1131590"/>
            <a:ext cx="2880320" cy="29657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2952328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8" y="1203596"/>
            <a:ext cx="5326589" cy="2361713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Examining a Learning Model</a:t>
            </a:r>
            <a:endParaRPr lang="en-US" dirty="0"/>
          </a:p>
        </p:txBody>
      </p:sp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1131589"/>
            <a:ext cx="2880320" cy="28259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hteck 5"/>
          <p:cNvSpPr/>
          <p:nvPr/>
        </p:nvSpPr>
        <p:spPr>
          <a:xfrm>
            <a:off x="3419872" y="1131590"/>
            <a:ext cx="5472608" cy="280831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7" y="1203596"/>
            <a:ext cx="5338258" cy="2611845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Examining a Learning Model</a:t>
            </a:r>
            <a:endParaRPr lang="en-US" dirty="0"/>
          </a:p>
        </p:txBody>
      </p:sp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1131589"/>
            <a:ext cx="2880320" cy="28259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hteck 5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Grafik 13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7" y="1203597"/>
            <a:ext cx="5330490" cy="3444455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Studying the progress of an epidemic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244827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8"/>
            <a:ext cx="7061634" cy="2267796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Studying the progress of an epidemic</a:t>
            </a:r>
            <a:endParaRPr lang="en-US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1131590"/>
            <a:ext cx="2880320" cy="22039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7" y="1203596"/>
            <a:ext cx="5324696" cy="3713285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Studying the progress of an epidemic</a:t>
            </a:r>
            <a:endParaRPr lang="en-US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1131590"/>
            <a:ext cx="2880320" cy="22039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2232248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7" y="1203596"/>
            <a:ext cx="5320503" cy="67941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 for Management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cap:</a:t>
            </a:r>
            <a:br>
              <a:rPr lang="en-US" dirty="0" smtClean="0"/>
            </a:br>
            <a:r>
              <a:rPr lang="en-US" dirty="0" smtClean="0"/>
              <a:t>The (natural) exponential function</a:t>
            </a:r>
            <a:endParaRPr lang="en-US" dirty="0"/>
          </a:p>
        </p:txBody>
      </p:sp>
      <p:pic>
        <p:nvPicPr>
          <p:cNvPr id="3" name="Picture 3 1"/>
          <p:cNvPicPr>
            <a:picLocks noChangeAspect="1" noChangeArrowheads="1"/>
          </p:cNvPicPr>
          <p:nvPr/>
        </p:nvPicPr>
        <p:blipFill>
          <a:blip r:embed="rId3" cstate="print"/>
          <a:srcRect r="54948"/>
          <a:stretch>
            <a:fillRect/>
          </a:stretch>
        </p:blipFill>
        <p:spPr bwMode="auto">
          <a:xfrm>
            <a:off x="202373" y="1071395"/>
            <a:ext cx="2281395" cy="20162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69020" y="1195973"/>
            <a:ext cx="5377716" cy="3799116"/>
          </a:xfrm>
          <a:prstGeom prst="rect">
            <a:avLst/>
          </a:prstGeom>
          <a:noFill/>
          <a:ln/>
          <a:effectLst/>
        </p:spPr>
      </p:pic>
      <p:sp>
        <p:nvSpPr>
          <p:cNvPr id="12" name="Rechteck 11"/>
          <p:cNvSpPr/>
          <p:nvPr/>
        </p:nvSpPr>
        <p:spPr>
          <a:xfrm>
            <a:off x="0" y="843558"/>
            <a:ext cx="179512" cy="4299942"/>
          </a:xfrm>
          <a:prstGeom prst="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hteck 6"/>
          <p:cNvSpPr/>
          <p:nvPr/>
        </p:nvSpPr>
        <p:spPr>
          <a:xfrm>
            <a:off x="4950042" y="3867894"/>
            <a:ext cx="2412268" cy="64807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mposition of a </a:t>
            </a:r>
            <a:r>
              <a:rPr lang="en-US" dirty="0" err="1" smtClean="0"/>
              <a:t>bijective</a:t>
            </a:r>
            <a:r>
              <a:rPr lang="en-US" dirty="0" smtClean="0"/>
              <a:t> function with its (uniquely defined) inverse function gives the identity function on the domain </a:t>
            </a:r>
            <a:endParaRPr lang="en-US" dirty="0"/>
          </a:p>
        </p:txBody>
      </p:sp>
      <p:pic>
        <p:nvPicPr>
          <p:cNvPr id="3" name="Picture 4" descr="http://upload.wikimedia.org/wikibooks/en/f/fe/Fruit_function_and_inverse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19" y="1131591"/>
            <a:ext cx="4320481" cy="1196442"/>
          </a:xfrm>
          <a:prstGeom prst="rect">
            <a:avLst/>
          </a:prstGeom>
          <a:noFill/>
        </p:spPr>
      </p:pic>
      <p:sp>
        <p:nvSpPr>
          <p:cNvPr id="4" name="Rechteck 3"/>
          <p:cNvSpPr/>
          <p:nvPr/>
        </p:nvSpPr>
        <p:spPr>
          <a:xfrm>
            <a:off x="1691680" y="2499742"/>
            <a:ext cx="7200800" cy="2520280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Grafik 1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1" y="2571743"/>
            <a:ext cx="7046003" cy="2366047"/>
          </a:xfrm>
          <a:prstGeom prst="rect">
            <a:avLst/>
          </a:prstGeom>
          <a:noFill/>
          <a:ln/>
          <a:effectLst/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444208" y="1094288"/>
            <a:ext cx="2432772" cy="1261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 all standard cases the inverse function is determined by means of algebraic manipulations</a:t>
            </a:r>
            <a:endParaRPr lang="en-US" dirty="0"/>
          </a:p>
        </p:txBody>
      </p:sp>
      <p:sp>
        <p:nvSpPr>
          <p:cNvPr id="7" name="Rechteck 6"/>
          <p:cNvSpPr/>
          <p:nvPr/>
        </p:nvSpPr>
        <p:spPr>
          <a:xfrm>
            <a:off x="1691680" y="2931790"/>
            <a:ext cx="7200800" cy="2088232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Grafik 1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1" y="3003791"/>
            <a:ext cx="7041307" cy="1961235"/>
          </a:xfrm>
          <a:prstGeom prst="rect">
            <a:avLst/>
          </a:prstGeom>
          <a:noFill/>
          <a:ln/>
          <a:effectLst/>
        </p:spPr>
      </p:pic>
      <p:sp>
        <p:nvSpPr>
          <p:cNvPr id="11" name="Rechteck 10"/>
          <p:cNvSpPr/>
          <p:nvPr/>
        </p:nvSpPr>
        <p:spPr>
          <a:xfrm>
            <a:off x="1691680" y="1131590"/>
            <a:ext cx="7200800" cy="172819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Grafik 13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1" y="1203590"/>
            <a:ext cx="7026989" cy="1606737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the inverse of a function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Grafik 12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6"/>
            <a:ext cx="7056165" cy="368615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Geometrically, the graph of the inverse function is obtained by reflecting the graph of the function about the line </a:t>
            </a:r>
            <a:r>
              <a:rPr lang="en-US" i="1" dirty="0" smtClean="0"/>
              <a:t>y = x </a:t>
            </a:r>
            <a:endParaRPr lang="en-US" i="1" dirty="0"/>
          </a:p>
        </p:txBody>
      </p:sp>
      <p:pic>
        <p:nvPicPr>
          <p:cNvPr id="3074" name="Picture 2 1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79512" y="1038801"/>
            <a:ext cx="2376264" cy="20370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2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93366" y="3055025"/>
            <a:ext cx="2172225" cy="20370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hteck 4"/>
          <p:cNvSpPr/>
          <p:nvPr/>
        </p:nvSpPr>
        <p:spPr>
          <a:xfrm>
            <a:off x="3419872" y="1131590"/>
            <a:ext cx="5472608" cy="2952328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Grafik 11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3491879" y="1203598"/>
            <a:ext cx="5317346" cy="2752222"/>
          </a:xfrm>
          <a:prstGeom prst="rect">
            <a:avLst/>
          </a:prstGeom>
          <a:noFill/>
          <a:ln/>
          <a:effectLst/>
        </p:spPr>
      </p:pic>
      <p:sp>
        <p:nvSpPr>
          <p:cNvPr id="9" name="Rechteck 8"/>
          <p:cNvSpPr/>
          <p:nvPr/>
        </p:nvSpPr>
        <p:spPr>
          <a:xfrm>
            <a:off x="3419872" y="4227934"/>
            <a:ext cx="5472608" cy="576064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 cstate="print"/>
          <a:stretch>
            <a:fillRect/>
          </a:stretch>
        </p:blipFill>
        <p:spPr>
          <a:xfrm>
            <a:off x="3491880" y="4299941"/>
            <a:ext cx="5316835" cy="449144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12iISWwkOOVDsSNsZR1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75,216"/>
  <p:tag name="ORIGINALWIDTH" val="3406,074"/>
  <p:tag name="LATEXADDIN" val="\documentclass{article}\pagestyle{empty}&#10;\usepackage{amsmath}&#10;\usepackage{amsfonts}&#10;\usepackage{amssymb}&#10;\begin{document}&#10;\begin{minipage}{9.6 cm}&#10;{\sffamily{&#10;{\bf{Exponential Functions:}}\\[1mm]&#10;If $b$ is a positive number other than $1$ ($b&gt;0$, $b \neq 1$), there is a {\underline{unique}} function called the {\bf{exponential function}} with base $b$ that&#10;is defined by\\[-2mm]&#10;$$&#10;f(x) \, \, = \, \, b^x \quad \text{for every real number $x$} \, .&#10;$$&#10;It has these properties:\\[-6mm]&#10;\begin{enumerate}&#10;\item[{\bf{a)}}] It is defined, continuous, and positive ($b^x &gt; 0$) for all $x$.\\[-6mm]&#10;\item[{\bf{b)}}] The $x$-axis is a horizontal asymptote of the graph of $f$.\\[-6mm]&#10;\item[{\bf{c)}}] The $y$-intercept of the graph is $(0,1)$, there is no $x$-intercept.\\[-6mm]&#10;\item[{\bf{d)}}] If $b &gt; 1$, then $\lim_{x\to -\infty} b^x = 0$ and $\lim_{x\to \infty} b^x = \infty$.\\&#10;If $0 &lt; b &lt; 1$, then $\lim_{x\to -\infty} b^x = \infty$ and $\lim_{x\to \infty} b^x = 0$.\\[-6mm]&#10;\item[{\bf{e)}}] For all $x$, the function is strictly monotonously increasing if $b&gt;1$ and&#10;strictly monotonously decreasing if $0&lt;b&lt;1$.&#10;\end{enumerate}&#10;}}&#10;\end{minipage}&#10;\end{document}"/>
  <p:tag name="IGUANATEXSIZE" val="20"/>
  <p:tag name="IGUANATEXCURSOR" val="96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731,534"/>
  <p:tag name="ORIGINALWIDTH" val="3395,576"/>
  <p:tag name="LATEXADDIN" val="\documentclass{article}\pagestyle{empty}&#10;\usepackage{amsmath}&#10;\usepackage{amsfonts}&#10;\usepackage{amssymb}&#10;\begin{document}&#10;\begin{minipage}{9.6 cm}&#10;{\sffamily{&#10;Don't confuse the {\bf{power function}} $p(x)=x^b$ with the {\bf{exponential&#10;function}} $f(x)=b^x$.\\[1mm]&#10;Remember that in $x^b$, the variable $x$ is the base and the&#10;exponent $b$ is constant, while in $b^x$, the base $b$ is constant and the variable $x$ is&#10;the exponent.\\[1mm]&#10;The graphs of $y=x^2$ and $y=2^x$ are shown in the figure. Notice&#10;that after the crossover point $(4, 16)$, the exponential curve $y=2^x$ rises much&#10;more steeply than the power curve $y=x^2$.\\[1mm]&#10;For instance, when $x=10$, the $y$-value&#10;on the power curve is $y=10^2=100$, while the corresponding $y$-value on the&#10;exponential curve is $y=2^{10}=1024$.}}&#10;\end{minipage}&#10;\end{document}"/>
  <p:tag name="IGUANATEXSIZE" val="20"/>
  <p:tag name="IGUANATEXCURSOR" val="786"/>
  <p:tag name="TRANSPARENCY" val="Wahr"/>
  <p:tag name="FILENAME" val=""/>
  <p:tag name="LATEXENGINEID" val="0"/>
  <p:tag name="TEMPFOLDER" val="C:\Users\Public\temp\"/>
  <p:tag name="LATEXFORMHEIGHT" val="482,25"/>
  <p:tag name="LATEXFORMWIDTH" val="1030,5"/>
  <p:tag name="LATEXFORMWRAP" val="Wahr"/>
  <p:tag name="BITMAPVECTOR" val="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329,209"/>
  <p:tag name="ORIGINALWIDTH" val="3432,321"/>
  <p:tag name="LATEXADDIN" val="\documentclass{article}\pagestyle{empty}&#10;\usepackage{amsmath}&#10;\usepackage{amsfonts}&#10;\usepackage{amssymb}&#10;\begin{document}&#10;\begin{minipage}{9.7 cm}&#10;{\sffamily{&#10;{\bf{The (Natural) Exponential Function:}}\\[1mm]&#10;A special exponential function is the {\bf{(natural) exponential function}}&#10;$$&#10;f(x) \, \, = \, \, {\rm{e}}^x \, .&#10;$$&#10;where, as we have already seen, the Euler number ${\rm{e}}$ is the unique number such that\\[-3mm]&#10;$$&#10;\lim_{h \to 0} \, \frac{{\rm{e}}^h - 1}{h} \, \, = \, \, 1&#10;$$&#10;(one can show ${\rm{e}} \approx 2.71828 \dots$). Another representation of ${\rm{e}}$ (that we show later) is\\[-3mm]&#10;$$&#10;{\rm{e}} \, \, = \, \, \lim_{n \to \infty} \left( 1 + \frac{1}{n} \right)^n \, .&#10;$$&#10;We will use this representation when discussing continuous compounding of interest.&#10;&#10;}}&#10;\end{minipage}&#10;\end{document}"/>
  <p:tag name="IGUANATEXSIZE" val="20"/>
  <p:tag name="IGUANATEXCURSOR" val="257"/>
  <p:tag name="TRANSPARENCY" val="Wahr"/>
  <p:tag name="FILENAME" val=""/>
  <p:tag name="LATEXENGINEID" val="0"/>
  <p:tag name="TEMPFOLDER" val="C:\Users\Public\temp\"/>
  <p:tag name="LATEXFORMHEIGHT" val="482,25"/>
  <p:tag name="LATEXFORMWIDTH" val="1030,5"/>
  <p:tag name="LATEXFORMWRAP" val="Wahr"/>
  <p:tag name="BITMAPVECTOR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87,327"/>
  <p:tag name="ORIGINALWIDTH" val="4458,193"/>
  <p:tag name="LATEXADDIN" val="\documentclass{article}\pagestyle{empty}&#10;\usepackage{amsmath}&#10;\usepackage{amsfonts}&#10;\usepackage{amssymb}&#10;\begin{document}&#10;\begin{minipage}{12.6 cm}&#10;{\sffamily{&#10;{\bf{Inverse Functions:}}\\[1mm]&#10;Two functions $f(x)$ and $g(y)$ with the property that $f(g(x)) = x$ and $g(f(x)) = x$, whenever&#10;both composite functions are defined, are said to be {\bf{inverses}} of one another. The inverse&#10;of a function $f(x)$ is denoted by $f^{-1}(y)$.\\[1mm]&#10;Let $f(x)$ have domain $A$ and range $B$, then its inverse $f^{-1}(y)$ has domain $B$ and range $A$. In particular, we have for all $y \in B$\\[-2mm]&#10;$$&#10;f^{-1}(y) \, \, = \, \, x \qquad \Longleftrightarrow \qquad f(x) \, \, = \, \, y&#10;$$&#10;Due to the domain/ range relation, such functions are called {\bf{bijective}} ({\bf{one-to-one}}).&#10;}}&#10;\end{minipage}&#10;\end{document}"/>
  <p:tag name="IGUANATEXSIZE" val="20"/>
  <p:tag name="IGUANATEXCURSOR" val="71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53,356"/>
  <p:tag name="ORIGINALWIDTH" val="4457,443"/>
  <p:tag name="LATEXADDIN" val="\documentclass{article}\pagestyle{empty}&#10;\usepackage{amsmath}&#10;\usepackage{amsfonts}&#10;\usepackage{amssymb}&#10;\begin{document}&#10;\begin{minipage}{12.6 cm}&#10;{\sffamily{&#10;{\bf{How to find the Inverse of a Bijective Function $f$:}}\\[-5mm]&#10;\begin{description}&#10;\item[Step 0:] Determine the domain and range of $f$.\\[-5mm]&#10;\item[Step 1:] Write $y = f(x)$.\\[-5mm]&#10;\item[Step 2:] Solve this equation for $x$ in terms of $y$ (if possible).\\[-5mm]&#10;\item[Step 3:] To express $f^{-1}$ as a function of $x$, interchange $x$ and $y$. The resulting equation is $y = f^{-1}(x)$.&#10;\end{description}&#10;}}&#10;\end{minipage}&#10;\end{document}"/>
  <p:tag name="IGUANATEXSIZE" val="20"/>
  <p:tag name="IGUANATEXCURSOR" val="14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44,132"/>
  <p:tag name="ORIGINALWIDTH" val="4447,694"/>
  <p:tag name="LATEXADDIN" val="\documentclass{article}\pagestyle{empty}&#10;\usepackage{amsmath}&#10;\usepackage{amsfonts}&#10;\usepackage{amssymb}&#10;\begin{document}&#10;\begin{minipage}{12.6 cm}&#10;{\sffamily{&#10;Such an inverse relationship exists between exponential and logarithmic functions with&#10;base $b$. For instance, we have\\[-2mm]&#10;$$&#10;\ln( {\rm{e}}^x ) \, \, = \, \, x \cdot \ln( {\rm{e}} ) \, \, = \, \, x \cdot 1 \, \, = \, \, x \qquad \text{for all $x$} \, .&#10;$$&#10;Similarly, if $y = {\rm{e}}^{\ln(x)}$ for $x &gt; 0$, then by definition, $\ln(y) = \ln(x)$, so $y = x$; that is,\\[-2mm]&#10;$$&#10;{\rm{e}}^{\ln(x)} \, \, = \, \, y \, \, = \, \, x \, .&#10;$$&#10;&#10;}}&#10;\end{minipage}&#10;\end{document}"/>
  <p:tag name="IGUANATEXSIZE" val="20"/>
  <p:tag name="IGUANATEXCURSOR" val="14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69,966"/>
  <p:tag name="ORIGINALWIDTH" val="4492,689"/>
  <p:tag name="LATEXADDIN" val="\documentclass{article}\pagestyle{empty}&#10;\usepackage{amsmath}&#10;\usepackage{amsfonts}&#10;\usepackage{amssymb}&#10;\begin{document}&#10;\begin{minipage}{12.7 cm}&#10;{\sffamily{&#10;{\bf{Example:}} Find the inverse function $f(x) = x^3 + 2$.\\&#10;&#10;{\bf{Solution}}\\[1mm]&#10;Note, in this example both the domain and the range of $f$ are $\mathbb{R}$. We first solve $y = x^3 + 2$ for $x$:&#10;$$&#10;y \, \, = \, \, x^3 \, + \, 2 \qquad \Longleftrightarrow \qquad&#10;x^3 \, \, = \, \, y \, - \, 2 \qquad \Longleftrightarrow \qquad&#10;x \, \, = \, \, \sqrt[3]{y - 2}&#10;$$&#10;Finally, we interchange $x$ and $y$, i.e.\\[-1mm]&#10;$$&#10;y \, \, = \, \, \sqrt[3]{x - 2} \, .&#10;$$&#10;Therefore, the inverse function is\\[-1mm]&#10;$$&#10;f^{-1} \, \, : \, \left\{ \begin{array}{c}&#10;\mathbb{R} \, \to \, \mathbb{R} \\[1mm]&#10;x \, \mapsto \, f^{-1}(x) \, = \, \sqrt[3]{x - 2}&#10;\end{array} \right.&#10;$$&#10;}}&#10;\end{minipage}&#10;\end{document}"/>
  <p:tag name="IGUANATEXSIZE" val="20"/>
  <p:tag name="IGUANATEXCURSOR" val="65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99,288"/>
  <p:tag name="ORIGINALWIDTH" val="3395,576"/>
  <p:tag name="LATEXADDIN" val="\documentclass{article}\pagestyle{empty}&#10;\usepackage{amsmath}&#10;\usepackage{amsfonts}&#10;\usepackage{amssymb}&#10;\begin{document}&#10;\begin{minipage}{9.6 cm}&#10;{\sffamily{&#10;The principle of interchanging $x$ and $y$ to find the inverse function also gives us the method for obtaining the graph of $f^{-1}$ from the graph of $f$.\\[2mm]&#10;Since&#10;$$&#10;f(a) \, \, = \, \, b \qquad \text{if and only if} \qquad  f^{-1}(b) \, \, = \, \, a \, ,&#10;$$&#10;the point $(a,b)$ is on the graph of $f$ if and only if the point $(b, a)$ is on the graph of $f^{-1}$.\\[2mm]&#10;But we get the point $(b,a)$ from $(a,b)$ by reflecting about the line $y = x$.&#10;}}&#10;\end{minipage}&#10;\end{document}"/>
  <p:tag name="IGUANATEXSIZE" val="20"/>
  <p:tag name="IGUANATEXCURSOR" val="53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77,4654"/>
  <p:tag name="ORIGINALWIDTH" val="3395,576"/>
  <p:tag name="LATEXADDIN" val="\documentclass{article}\pagestyle{empty}&#10;\usepackage{amsmath}&#10;\usepackage{amsfonts}&#10;\usepackage{amssymb}&#10;\begin{document}&#10;\begin{minipage}{9.6 cm}&#10;{\sffamily{&#10;The graph of $f^{-1}$ is obtained by reflecting the graph of $f$ about the line $y = x$.&#10;}}&#10;\end{minipage}&#10;\end{document}"/>
  <p:tag name="IGUANATEXSIZE" val="20"/>
  <p:tag name="IGUANATEXCURSOR" val="19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91,226"/>
  <p:tag name="ORIGINALWIDTH" val="3397,076"/>
  <p:tag name="LATEXADDIN" val="\documentclass{article}\pagestyle{empty}&#10;\usepackage{amsmath}&#10;\usepackage{amsfonts}&#10;\usepackage{amssymb}&#10;\begin{document}&#10;\begin{minipage}{9.6 cm}&#10;{\sffamily{&#10;{\bf{Example:}}\\[1mm]&#10;If $b &gt; 0$ and $b \neq 1$, the {\bf{exponential function}}&#10;$$&#10;f \, : \, \mathbb{R} \, \to \, \mathbb{R}^+ \, , \qquad \text{with} \qquad f(x) \, \, = \, \, b^x&#10;$$&#10;is either increasing ($b &gt; 1$) or decreasing ($0 &lt; b &lt; 1$) and so it is bijective and therefore has an inverse function $f^{-1}$.\\[2mm]&#10;This is the {\bf{logarithmic function with base $b$}}, denoted by $\log_b$:&#10;$$&#10;f^{-1} \, \, = \, \, \log_b \, : \, \mathbb{R}^+ \, \to \, \mathbb{R} \, , \qquad \text{with} \qquad f^{-1}(x) \, \, = \, \, \log_b(x) \, .&#10;$$&#10;We have:&#10;$$&#10;\log_b(x) \, \, = \, \, y \qquad \Longleftrightarrow \qquad b^y \, \, = \, \, x \, .&#10;$$&#10;}}&#10;\end{minipage}&#10;\end{document}"/>
  <p:tag name="IGUANATEXSIZE" val="20"/>
  <p:tag name="IGUANATEXCURSOR" val="80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97,713"/>
  <p:tag name="ORIGINALWIDTH" val="3395,576"/>
  <p:tag name="LATEXADDIN" val="\documentclass{article}\pagestyle{empty}&#10;\usepackage{amsmath}&#10;\usepackage{amsfonts}&#10;\usepackage{amssymb}&#10;\begin{document}&#10;\begin{minipage}{9.6 cm}&#10;{\sffamily{&#10;{\bf{Example:}}\\[1mm]&#10;A special {\bf{exponential function}} $f$ is that corresponding to the Euler number ${\rm{e}}$. Its inverse is the {\bf{natural logarithm}} $f^{-1} = \ln$, leading to:\\[-2mm]&#10;$$&#10;\begin{array}{c}&#10;f \, : \, \left\{ \begin{array}{c}&#10;\mathbb{R} \, \to \, \mathbb{R}^+ \\[1mm]&#10;x \, \mapsto \, f(x) \, = \, {\rm{e}}^x&#10;\end{array} \right.\\[7mm]&#10;\quad \Longleftrightarrow \quad&#10;f^{-1} \, : \, \left\{ \begin{array}{c}&#10;\mathbb{R}^+ \, \to \, \mathbb{R} \\[1mm]&#10;x \, \mapsto \, f^{-1}(x) \, = \, \ln(x)&#10;\end{array} \right.&#10;\end{array}&#10;$$&#10;We have:&#10;$$&#10;\log_b(x) \, \, = \, \, y \qquad \Longleftrightarrow \qquad b^y \, \, = \, \, x \, .&#10;$$&#10;and $\ln({\rm{e}}) = 1$.&#10;}}&#10;\end{minipage}&#10;\end{document}"/>
  <p:tag name="IGUANATEXSIZE" val="20"/>
  <p:tag name="IGUANATEXCURSOR" val="51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85,977"/>
  <p:tag name="ORIGINALWIDTH" val="3433,071"/>
  <p:tag name="LATEXADDIN" val="\documentclass{article}\pagestyle{empty}&#10;\usepackage{amsmath}&#10;\usepackage{amsfonts}&#10;\usepackage{amssymb}&#10;\begin{document}&#10;\begin{minipage}{9.7 cm}&#10;{\sffamily{&#10;{\bf{Properties of a Logarithmic Function:}}\\[1mm]&#10;The logarithmic function $f(x) = \log_b(x)$ with $b &gt; 0$, $b \neq 1$, has these properties:\\[-5mm]&#10;\begin{itemize}&#10;\item[{\bf{a)}}] It is defined and continuous for all $x &gt; 0$.\\[-5mm]&#10;\item[{\bf{b)}}] The $y$-axis is a vertical asymptote.\\[-5mm]&#10;\item[{\bf{c)}}] The $x$-intercept is $(1,0)$ and there is no $y$-intercept.\\[-5mm]&#10;\item[{\bf{d)}}] If $b&gt;1$, then $\lim_{x \to 0^+} \log_b(x) = -\infty$, and\\&#10;$\lim_{x \to \infty} \log_b(x) = \infty$.\\[1mm]&#10;If $0&lt;b&lt;1$, then $\lim_{x \to 0^+} \log_b(x) = \infty$ and\\&#10;$\lim_{x \to \infty} \log_b(x) = -\infty$.\\[-5mm]&#10;\item[{\bf{e)}}] For all $x &gt; 0$, the function is strictly monotonously increasing if $b&gt;1$ and&#10;strictly monotonously decreasing if $0&lt;b&lt;1$.&#10;\end{itemize}&#10;}}&#10;\end{minipage}&#10;\end{document}"/>
  <p:tag name="IGUANATEXSIZE" val="20"/>
  <p:tag name="IGUANATEXCURSOR" val="14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86,464"/>
  <p:tag name="ORIGINALWIDTH" val="3433,821"/>
  <p:tag name="LATEXADDIN" val="\documentclass{article}\pagestyle{empty}&#10;\usepackage{amsmath}&#10;\usepackage{amsfonts}&#10;\usepackage{amssymb}&#10;\begin{document}&#10;\begin{minipage}{9.7 cm}&#10;{\sffamily{&#10;We know, that if we want to address a point $(x,y)$ on the unit circle $x^2 + y^2 = 1$ we can do this&#10;with the help of the sine and cosine of an angle $\theta$ (see the top figure):&#10;$$&#10;x \, \, = \, \, \cos(\theta) \quad \text{and} \quad y \, \, = \sin(\theta) \, .&#10;$$&#10;Given a unit hyperbola $x^2 - y^2 = 1$, we introduce the {\bf{hyperbolic sine}} and {\bf{hyperbolic cosine}}&#10;to achieve an analogous addressing of a point $(x,y)$ with the help of these functions and an angle $a$ (see the bottom figure):&#10;$$&#10;x \, \, = \, \, \cosh(a) \quad \text{and} \quad y \, \, = \sinh(a) \, .&#10;$$&#10;&#10;\vspace{0.5cm}&#10;The hyperbolic sine $\sinh(a)$ and hyperbolic cosine $\cosh(a)$ are connected to the exponential function as we will see next.&#10;}}&#10;\end{minipage}&#10;\end{document}"/>
  <p:tag name="IGUANATEXSIZE" val="20"/>
  <p:tag name="IGUANATEXCURSOR" val="75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00,225"/>
  <p:tag name="ORIGINALWIDTH" val="2770,904"/>
  <p:tag name="LATEXADDIN" val="\documentclass{article}\pagestyle{empty}&#10;\usepackage{amsmath}&#10;\usepackage{amsfonts}&#10;\usepackage{amssymb}&#10;\begin{document}&#10;\begin{minipage}{9.7 cm}&#10;{\sffamily{&#10;We define\\[-4mm]&#10;\begin{itemize}&#10;\item the {\bf{hyperbolic sine}} $\sinh(x)$ as\\[-2mm]&#10;$$&#10;\left\{ \begin{array}{r c l}&#10;\mathbb{R} &amp; \to &amp; \mathbb{R} \\[1mm]&#10;x &amp; \mapsto &amp; \sinh(x) \, = \, \tfrac{1}{2} \left( {\rm{e}}^{x} - {\rm{e}}^{-x} \right)&#10;\end{array} \right.&#10;$$&#10;\item the {\bf{hyperbolic cosine}} $\cosh(x)$ as\\[-2mm]&#10;$$&#10;\left\{ \begin{array}{r c l}&#10;\mathbb{R} &amp; \to &amp; [1, \infty] \\[1mm]&#10;x &amp; \mapsto &amp; \cosh(x) \, = \, \tfrac{1}{2} \left( {\rm{e}}^{x} + {\rm{e}}^{-x} \right)&#10;\end{array} \right.&#10;$$&#10;\item the {\bf{hyperbolic tangent}} $\tanh(x)$ as\\[-2mm]&#10;$$&#10;\left\{ \begin{array}{r c l}&#10;\mathbb{R} &amp; \to &amp; [-1, 1] \\[1mm]&#10;x &amp; \mapsto &amp; \tanh(x) \, = \, \frac{\sinh(x)}{\cosh(x)}&#10;\end{array} \right.&#10;$$&#10;\end{itemize}&#10;}}&#10;\end{minipage}&#10;\end{document}"/>
  <p:tag name="IGUANATEXSIZE" val="20"/>
  <p:tag name="IGUANATEXCURSOR" val="34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51,8936"/>
  <p:tag name="ORIGINALWIDTH" val="4262,467"/>
  <p:tag name="LATEXADDIN" val="\documentclass{article}\pagestyle{empty}&#10;\usepackage{amsmath}&#10;\usepackage{amsfonts}&#10;\usepackage{amssymb}&#10;\begin{document}&#10;\begin{minipage}{12.6 cm}&#10;{\sffamily{&#10;We have that $\sinh(x)$ and $\cosh(x)$ satisfy the defining equation of a parabola, i.e.&#10;\begin{eqnarray*}&#10;\cosh^2(x) - \sinh^2(x) &amp; = &amp;&#10;\left( \tfrac{1}{2} \left( {\rm{e}}^{x} + {\rm{e}}^{-x} \right) \right)^2 - \left( \tfrac{1}{2} \left( {\rm{e}}^{x} - {\rm{e}}^{-x} \right) \right)^2 \\[1mm]&#10;&amp; = &amp;&#10;\tfrac{1}{4} \left( {\rm{e}}^{2x} + 2 + {\rm{e}}^{-2x} \right) - \tfrac{1}{4} \left( {\rm{e}}^{2x} - 2 + {\rm{e}}^{-2x} \right) \\[1mm]&#10;&amp; = &amp;&#10;1&#10;\end{eqnarray*}&#10;}}&#10;\end{minipage}&#10;\end{document}"/>
  <p:tag name="IGUANATEXSIZE" val="20"/>
  <p:tag name="IGUANATEXCURSOR" val="60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80,802"/>
  <p:tag name="ORIGINALWIDTH" val="3138,358"/>
  <p:tag name="LATEXADDIN" val="\documentclass{article}\pagestyle{empty}&#10;\usepackage{amsmath}&#10;\usepackage{amsfonts}&#10;\usepackage{amssymb}&#10;\begin{document}&#10;\begin{minipage}{9.7 cm}&#10;{\sffamily{&#10;{\bf{Example (Some Properties of $\cosh(x)$):}}\\[1mm]&#10;We have&#10;\begin{eqnarray*}&#10;\cosh(0) &amp; = &amp; \tfrac{1}{2} \left( {\rm{e}}^{0} + {\rm{e}}^{-0} \right) \, = \, \tfrac{1}{2} \left( 1 + 1 \right) \, = \, 1 \\[2mm]&#10;\lim_{x \to \infty} \cosh(x) &amp; = &amp; \tfrac{1}{2} \big( \underbrace{\lim_{x \to \infty} {\rm{e}}^{x}}_{\to \, \infty}&#10;+ \underbrace{\lim_{x \to \infty} {\rm{e}}^{-x}}_{= \, 0} \big) \, \to \, \infty \\[2mm]&#10;\lim_{x \to -\infty} \cosh(x) &amp; = &amp; \tfrac{1}{2} \big( \underbrace{\lim_{x \to -\infty} {\rm{e}}^{x}}_{= \, 0}&#10;+ \underbrace{\lim_{x \to -\infty} {\rm{e}}^{-x}}_{\to \, \infty} \big) \, \to \, \infty&#10;\end{eqnarray*}&#10;}}&#10;\end{minipage}&#10;\end{document}"/>
  <p:tag name="IGUANATEXSIZE" val="20"/>
  <p:tag name="IGUANATEXCURSOR" val="75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16,236"/>
  <p:tag name="ORIGINALWIDTH" val="4235,471"/>
  <p:tag name="LATEXADDIN" val="\documentclass{article}\pagestyle{empty}&#10;\usepackage{amsmath}&#10;\usepackage{amsfonts}&#10;\usepackage{amssymb}&#10;\begin{document}&#10;\begin{minipage}{12.6 cm}&#10;{\sffamily{&#10;{\bf{Example:}}\\[1mm]&#10;Compute the first derivatives of $\sinh(x)$, $\cosh(x)$, and $\tanh(x)$.&#10;&#10;\vspace{2mm}&#10;{\bf{Solution:}}\\[1mm]&#10;We have&#10;\begin{eqnarray*}&#10;\tfrac{\textrm{d}}{\textrm{d} x} \sinh(x) &amp; = &amp; \tfrac{\textrm{d}}{\textrm{d} x} \left( \tfrac{1}{2} \left( {\rm{e}}^{x} - {\rm{e}}^{-x} \right) \right)&#10;\, = \, \tfrac{1}{2} \left( {\rm{e}}^{x} + {\rm{e}}^{-x} \right) \, = \, \cosh(x) \\[2mm]&#10;\tfrac{\textrm{d}}{\textrm{d} x} \cosh(x) &amp; = &amp; \tfrac{\textrm{d}}{\textrm{d} x} \left( \tfrac{1}{2} \left( {\rm{e}}^{x} + {\rm{e}}^{-x} \right) \right)&#10;\, = \, \tfrac{1}{2} \left( {\rm{e}}^{x} - {\rm{e}}^{-x} \right) \, = \, \sinh(x) \\[2mm]&#10;\tfrac{\textrm{d}}{\textrm{d} x} \tan(x) &amp; = &amp; \tfrac{\textrm{d}}{\textrm{d} x} \left( \frac{\sinh(x)}{\cosh(x)} \right)&#10;\, = \, \frac{\sinh'(x) \cosh(x) - \cosh'(x) \sinh(x)}{\cosh^2(x)} \\[1mm]&#10;&amp; = &amp;&#10;\frac{\cosh^2(x) - \sinh^2(x)}{\cosh^2(x)} \, = \, 1 - \tanh^2(x) \qquad \left( \text{or} \quad \frac{1}{\cosh^2(x)} \right)&#10;\end{eqnarray*}&#10;}}&#10;\end{minipage}&#10;\end{document}"/>
  <p:tag name="IGUANATEXSIZE" val="20"/>
  <p:tag name="IGUANATEXCURSOR" val="110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92,989"/>
  <p:tag name="ORIGINALWIDTH" val="4458,193"/>
  <p:tag name="LATEXADDIN" val="\documentclass{article}\pagestyle{empty}&#10;\usepackage{amsmath}&#10;\usepackage{amsfonts}&#10;\usepackage{amssymb}&#10;\begin{document}&#10;\begin{minipage}{12.6 cm}&#10;{\sffamily{&#10;{\bf{The basic ideas behind compound interest:}}\\[1mm]&#10;Suppose a sum of money is invested and the interest is compounded only once. If $P$ is the initial investment&#10;(the {\bf{principal}}) and $r$ is the {\bf{interest rate}} (expressed as a decimal), the {\bf{balance}} $B$&#10;after the interest is added will be&#10;$$&#10;B \, \, = \, \, P + P \cdot r \, \, = \, \, P(1+r) \quad \text{[GEL]} \, .&#10;$$&#10;That is, to compute the balance at the end of an interest period, you multiply the balance&#10;at the beginning of the period by the expression $1+r$.\\[1mm]&#10;At most banks, interest is compounded more than once a year. The interest that&#10;is added to the account during one period will itself earn interest during the subsequent&#10;periods. If the annual interest rate is $r$ and interest is compounded $k$ times per&#10;year, then the year is divided into $k$ equal compounding periods and the interest rate&#10;in each period is $\frac{r}{k}$.&#10;}}&#10;\end{minipage}&#10;\end{document}"/>
  <p:tag name="IGUANATEXSIZE" val="20"/>
  <p:tag name="IGUANATEXCURSOR" val="91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86,1268"/>
  <p:tag name="ORIGINALWIDTH" val="4320,96"/>
  <p:tag name="LATEXADDIN" val="\documentclass{article}\pagestyle{empty}&#10;\usepackage{amsmath}&#10;\usepackage{amsfonts}&#10;\usepackage{amssymb}&#10;\begin{document}&#10;\begin{minipage}{12.6 cm}&#10;{\sffamily{&#10;Hence, the balance at the end of the first period is\\[-2mm]&#10;$$&#10;P_1 \, \, = \, \, \underbrace{\quad P \quad}_{\text{principal}} + \underbrace{\quad  P \cdot \tfrac{r}{k} \quad}_{\text{intrest}}&#10;\, \, = \, \, P \cdot \left( 1 + \tfrac{r}{k} \right)&#10;$$&#10;At the end of the second period, the balance is\\[-2mm]&#10;$$&#10;P_2 \, \, = \, \, P_1 + P_1 \cdot \tfrac{r}{k} \, \, = \, \, P_1 \cdot \left( 1 + \tfrac{r}{k} \right) \, \, = \, \,&#10;P \cdot \left( 1 + \tfrac{r}{k} \right) \cdot \left( 1 + \tfrac{r}{k} \right) \, \, = \, \, P \cdot \left( 1 + \tfrac{r}{k} \right)^2 \, .&#10;$$&#10;}}&#10;\end{minipage}&#10;\end{document}"/>
  <p:tag name="IGUANATEXSIZE" val="20"/>
  <p:tag name="IGUANATEXCURSOR" val="72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06,9367"/>
  <p:tag name="ORIGINALWIDTH" val="2112,486"/>
  <p:tag name="LATEXADDIN" val="\documentclass{article}\pagestyle{empty}&#10;\usepackage{amsmath}&#10;\usepackage{amsfonts}&#10;\usepackage{amssymb}&#10;\begin{document}&#10;\begin{minipage}{6 cm}&#10;{\sffamily{&#10;and, in general, the balance at the end of the $m$th period is\\[-2mm]&#10;$$&#10;P_m \, \, = \, \, P \cdot \left( 1 + \tfrac{r}{k} \right)^m&#10;$$&#10;}}&#10;\end{minipage}&#10;\end{document}"/>
  <p:tag name="IGUANATEXSIZE" val="20"/>
  <p:tag name="IGUANATEXCURSOR" val="14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99,738"/>
  <p:tag name="ORIGINALWIDTH" val="4458,943"/>
  <p:tag name="LATEXADDIN" val="\documentclass{article}\pagestyle{empty}&#10;\usepackage{amsmath}&#10;\usepackage{amsfonts}&#10;\usepackage{amssymb}&#10;\begin{document}&#10;\begin{minipage}{12.6 cm}&#10;{\sffamily{&#10;Since there are $k$ periods in a year, the balance after $1$ year is\\[-2mm]&#10;$$&#10;P \cdot \left( 1 + \tfrac{r}{k} \right)^k&#10;$$&#10;At the end of $t$ years, interest has been compounded $kt$ times and the balance, called&#10;the future value of the investment, is given by\\[-2mm]&#10;$$&#10;B(t) \, \, = \, \, P \cdot \left( 1 + \tfrac{r}{k} \right)^{kt}&#10;$$&#10;As the frequency with which interest is compounded increases, the corresponding&#10;balance $B(t)$ also increases. Hence, a bank that compounds interest frequently may&#10;attract more customers than one that offers the same interest rate but compounds interest&#10;less often. But what happens to the balance at the end of $t$ years as the compounding&#10;frequency increases without bound?\\[1mm]&#10;More specifically, what will the balance be at the end of $t$ years if interest is&#10;compounded not quarterly, not monthly, not daily, but continuously?&#10;&#10;}}&#10;\end{minipage}&#10;\end{document}"/>
  <p:tag name="IGUANATEXSIZE" val="20"/>
  <p:tag name="IGUANATEXCURSOR" val="101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784,402"/>
  <p:tag name="ORIGINALWIDTH" val="4458,193"/>
  <p:tag name="LATEXADDIN" val="\documentclass{article}\pagestyle{empty}&#10;\usepackage{amsmath}&#10;\usepackage{amsfonts}&#10;\usepackage{amssymb}&#10;\begin{document}&#10;\begin{minipage}{12.6 cm}&#10;{\sffamily{&#10;In mathematical terms, this question is equivalent to studying what&#10;happens to the expression $P \cdot \left( 1 + \tfrac{r}{k} \right)^{kt}$&#10;as $k$ increases without bound, i.e.\\[-2mm]&#10;$$&#10;B(t) \, \, = \, \, \lim_{k \to \infty} P \cdot \left( 1 + \tfrac{r}{k} \right)^{kt} \, \, = \, \,&#10;P \cdot \left( \lim_{n \to \infty} \left( 1 + \tfrac{1}{n} \right)^n \right)^{rt} \, \, = \, \, P {\rm{e}}^{rt} \, ,&#10;$$&#10;where $k = nr$.&#10;}}&#10;\end{minipage}&#10;\end{document}"/>
  <p:tag name="IGUANATEXSIZE" val="20"/>
  <p:tag name="IGUANATEXCURSOR" val="48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11,099"/>
  <p:tag name="ORIGINALWIDTH" val="4455,943"/>
  <p:tag name="LATEXADDIN" val="\documentclass{article}\pagestyle{empty}&#10;\usepackage{amsmath}&#10;\usepackage{amsfonts}&#10;\usepackage{amssymb}&#10;\begin{document}&#10;\begin{minipage}{12.6 cm}&#10;{\sffamily{&#10;{\bf{Future Value of an Investment:}}\\[1mm]&#10;Suppose a principal $P$ is invested at an annual interest rate $r$ for $t$ years to accumulate a&#10;{\bf{future value}} $B(t)$. If interest is compounded $k$ times per year, then\\[-2mm]&#10;$$&#10;B(t) \, \, = \, \, P \cdot \left( 1 + \tfrac{r}{k} \right)^{kt}&#10;$$&#10;and if interest is compounded continuously (to gain an upper bound for the possible balance)\\[-4mm]&#10;$$&#10;B(t) \, \, = \, \, P {\rm{e}}^{rt} \, .&#10;$$&#10;}}&#10;\end{minipage}&#10;\end{document}"/>
  <p:tag name="IGUANATEXSIZE" val="20"/>
  <p:tag name="IGUANATEXCURSOR" val="55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23,735"/>
  <p:tag name="ORIGINALWIDTH" val="4456,693"/>
  <p:tag name="LATEXADDIN" val="\documentclass{article}\pagestyle{empty}&#10;\usepackage{amsmath}&#10;\usepackage{amsfonts}&#10;\usepackage{amssymb}&#10;\begin{document}&#10;\begin{minipage}{12.6 cm}&#10;{\sffamily{&#10;{\bf{Example: (Computing Future Value)}}\\[1mm]&#10;Suppose $1000$ GEL are invested at an annual interest rate of $6\%$ for a period of $10$ years.&#10;Compute the future value of the investment if interest is compounded:\\[-2mm]&#10;$$&#10;{\bf{a)}} \quad \text{quarterly} \, , \quad {\bf{b}} \quad \text{monthly} \, , \quad &#10;{\bf{c)}} \quad \text{daily} \, , \quad {\bf{d)}} \quad \text{continuously} \, .&#10;$$&#10;&#10;\vspace{0.2cm}&#10;{\bf{Solution:}}\\[1mm]&#10;We use&#10;$$&#10;B_k(10) \, \, = \, \, P \cdot \left(1 + \tfrac{r}{k} \right)^{kt} \, \, = \, \, 1000 \cdot \left(1 + \tfrac{0.06}{k} \right)^{10k}&#10;$$&#10;for the corresponding values of $k$ for {\bf{a)}}-{\bf{c)}} and $B_{\text{cont.}}(10) = P {\rm{e}}^{rt} = 1000 {\rm{e}}^{0.6}$, respectively.&#10;&#10;\begin{center}&#10;\begin{tabular}{c || c | c | c | c}&#10;period &amp; quarterly &amp; monthly &amp; daily &amp; continously \\&#10;\hline&#10;$B(10)$ &amp; $1814.02$ GEL &amp; $1819.40$ GEL &amp; $1,822.03$ GEL &amp; $1822.12$ GEL&#10;\end{tabular}&#10;\end{center}&#10;}}&#10;\end{minipage}&#10;\end{document}"/>
  <p:tag name="IGUANATEXSIZE" val="20"/>
  <p:tag name="IGUANATEXCURSOR" val="105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79,9775"/>
  <p:tag name="ORIGINALWIDTH" val="1986,502"/>
  <p:tag name="LATEXADDIN" val="\documentclass{article}\pagestyle{empty}&#10;\usepackage{amsmath}&#10;\usepackage{amsfonts}&#10;\usepackage{amssymb}&#10;\begin{document}&#10;{\sffamily{&#10;$$&#10;\left( 1 + \tfrac{r}{k} \right)^{kt} \, \, = \, \, &#10;\left( \left( 1 + \tfrac{1}{n} \right)^n \right)^{rt} \, \, \stackrel{n \to \infty}{\longrightarrow} \, \, {\rm{e}}^{rt}&#10;$$&#10;}}&#10;\end{document}&#10;"/>
  <p:tag name="IGUANATEXSIZE" val="20"/>
  <p:tag name="IGUANATEXCURSOR" val="173"/>
  <p:tag name="TRANSPARENCY" val="Falsch"/>
  <p:tag name="FILENAME" val=""/>
  <p:tag name="LATEXENGINEID" val="0"/>
  <p:tag name="TEMPFOLDER" val="D:\iguana_temp\"/>
  <p:tag name="LATEXFORMHEIGHT" val="312"/>
  <p:tag name="LATEXFORMWIDTH" val="384"/>
  <p:tag name="LATEXFORMWRAP" val="Wahr"/>
  <p:tag name="BITMAPVECTOR" val="0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77,728"/>
  <p:tag name="ORIGINALWIDTH" val="4458,943"/>
  <p:tag name="LATEXADDIN" val="\documentclass{article}\pagestyle{empty}&#10;\usepackage{amsmath}&#10;\usepackage{amsfonts}&#10;\usepackage{amssymb}&#10;\begin{document}&#10;\begin{minipage}{12.6 cm}&#10;{\sffamily{&#10;In many situations, it is useful to know how much money $P$ must be invested at a&#10;fixed compound interest rate to obtain a desired accumulated (future) value $B$ over a&#10;given period of time $T$. This investment $P$ is called the {\bf{present value of the amount&#10;$B$ to be received in $T$ years}}. Present value may be regarded as a measure of the current&#10;worth of an investment and is used by economists to compare different investment&#10;possibilities.\\[1mm]&#10;To derive a formula for present value, we need only solve an appropriate future&#10;value formula for $P$. In particular, if the investment is compounded $k$ times per year&#10;at an annual rate $r$ for the term of $T$ years, then\\[-2mm]&#10;$$&#10;B \, \, = \, \, P \left( 1 + \tfrac{r}{k} \right)^{kT}&#10;$$&#10;and the present value of $B$ GEL in $T$ years is obtained by multiplying both sides of&#10;the equation by $\left( 1 + \tfrac{r}{k} \right)^{-kT}$&#10;$$&#10;P \, \, = \, \, B \left( 1 + \tfrac{r}{k} \right)^{-kT}&#10;$$&#10;}}&#10;\end{minipage}&#10;\end{document}"/>
  <p:tag name="IGUANATEXSIZE" val="20"/>
  <p:tag name="IGUANATEXCURSOR" val="101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41,4324"/>
  <p:tag name="ORIGINALWIDTH" val="3297,338"/>
  <p:tag name="LATEXADDIN" val="\documentclass{article}\pagestyle{empty}&#10;\usepackage{amsmath}&#10;\usepackage{amsfonts}&#10;\usepackage{amssymb}&#10;\begin{document}&#10;\begin{minipage}{12.6 cm}&#10;{\sffamily{&#10;Likewise, if the compounding is continuous, then\\[-2mm]&#10;$$&#10;B \, \, = \, \, P {\rm{e}}^{rT} \qquad \Longrightarrow \qquad P \, \, = \, \, B {\rm{e}}^{-rT} \, .&#10;$$&#10;To summarize:&#10;}}&#10;\end{minipage}&#10;\end{document}"/>
  <p:tag name="IGUANATEXSIZE" val="20"/>
  <p:tag name="IGUANATEXCURSOR" val="21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446,569"/>
  <p:tag name="ORIGINALWIDTH" val="4456,693"/>
  <p:tag name="LATEXADDIN" val="\documentclass{article}\pagestyle{empty}&#10;\usepackage{amsmath}&#10;\usepackage{amsfonts}&#10;\usepackage{amssymb}&#10;\begin{document}&#10;\begin{minipage}{12.6 cm}&#10;{\sffamily{&#10;{\bf{Present Value of an Investment:}}\\[1mm]&#10;The {\bf{present value}} $P(T)$ of an investment $B$ accumulated at the annual interest rate $r$ compounded $k$ times per year&#10;over a term of $T$ years is given by&#10;$$&#10;P(T) \, \, = \, \, B \left( 1 + \tfrac{r}{k} \right)^{-kT} \, .&#10;$$&#10;If interest is compounded continuously at the same annual rate $r$ over the same term&#10;of $T$ years, the present value is&#10;$$&#10;P(T) \, \, = \, \, B {\rm{e}}^{-rT} \, .&#10;$$&#10;}}&#10;\end{minipage}&#10;\end{document}"/>
  <p:tag name="IGUANATEXSIZE" val="20"/>
  <p:tag name="IGUANATEXCURSOR" val="36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45,482"/>
  <p:tag name="ORIGINALWIDTH" val="4459,693"/>
  <p:tag name="LATEXADDIN" val="\documentclass{article}\pagestyle{empty}&#10;\usepackage{amsmath}&#10;\usepackage{amsfonts}&#10;\usepackage{amssymb}&#10;\begin{document}&#10;\begin{minipage}{12.6 cm}&#10;{\sffamily{&#10;{\bf{Example: (Finding Present Value)}}\\[1mm]&#10;Maja is about to enter KIU. When she graduates $4$ years from now, she wants to&#10;take a longer trip to Europe that she estimates will cost $5000$ EUR. How much should she invest&#10;now at $7\%$ to have enough for the trip if interest is compounded:\\[-2mm]&#10;$$&#10;{\bf{a)}} \quad \text{quaterly} \qquad {\bf{b)}} \quad \text{continuously} &#10;$$&#10;&#10;\vspace{0.1cm}&#10;{\bf{Solution:}}\\[1mm]&#10;The required future value is $B=5000$ in $T=4$ years with $r=0.07$. Hence\\[-6mm]&#10;\begin{eqnarray*}&#10;{\bf{a)}} \quad P &amp; = &amp; 500 \left( 1 + \tfrac{0.07}{4} \right)^{-4 \cdot 4} \, \, = \, \, 3788.08 \quad \text{[EUR]} \\[1mm]&#10;{\bf{b)}} \quad P &amp; = &amp; 500 {\rm{e}}^{-0.07 \cdot 4} \, \, = \, \, 3778.92 \quad \text{[EUR]}&#10;\end{eqnarray*}&#10;Thus, Maja would have to invest about $9$ EUR more if interest is compounded quarterly&#10;than if the compounding is continuous.&#10;}}&#10;\end{minipage}&#10;\end{document}"/>
  <p:tag name="IGUANATEXSIZE" val="20"/>
  <p:tag name="IGUANATEXCURSOR" val="66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63,742"/>
  <p:tag name="ORIGINALWIDTH" val="4458,943"/>
  <p:tag name="LATEXADDIN" val="\documentclass{article}\pagestyle{empty}&#10;\usepackage{amsmath}&#10;\usepackage{amsfonts}&#10;\usepackage{amssymb}&#10;\begin{document}&#10;\begin{minipage}{12.6 cm}&#10;{\sffamily{&#10;Which is better, an investment that earns $10\%$ compounded quarterly, one that earns&#10;$9.95\%$ compounded monthly, or one that earns $9.9\%$ compounded continuously?\\[1mm]&#10;One way to answer this question is to determine the simple annual interest rate that is&#10;equivalent to each investment. This is known as the {\bf{effective interest rate}}, and it can&#10;be easily obtained from the compound interest formulas.\\[1mm]&#10;Suppose interest is compounded $k$ times per year at the annual rate $r$. This is&#10;called the {\bf{nominal rate of interest}}. Then the balance at the end of $1$ year is&#10;$$&#10;A \, \, = \, \, P (1+i)^k \qquad \text{where $i = \tfrac{r}{k}$} \, .&#10;$$&#10;On the other hand, if $x$ is the effective interest rate, the corresponding balance at the&#10;end of $1$ year is $A = P(1+x)$. Equating the two expressions for $A$, we get&#10;$$&#10;P(1+i)^k \, \, = \, \, P(1+x) \qquad \text{or} \qquad x \, \, = \, \, (1+i)^k - 1 \, .&#10;$$&#10;}}&#10;\end{minipage}&#10;\end{document}"/>
  <p:tag name="IGUANATEXSIZE" val="20"/>
  <p:tag name="IGUANATEXCURSOR" val="74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41,4324"/>
  <p:tag name="ORIGINALWIDTH" val="3334,833"/>
  <p:tag name="LATEXADDIN" val="\documentclass{article}\pagestyle{empty}&#10;\usepackage{amsmath}&#10;\usepackage{amsfonts}&#10;\usepackage{amssymb}&#10;\begin{document}&#10;\begin{minipage}{12.6 cm}&#10;{\sffamily{&#10;Likewise, for continuous compounding, we have\\[-2mm]&#10;$$&#10;P {\rm{e}}^r \, \, = \, \, P (1+x) \qquad \text{or} \qquad x \, \, = \, \, {\rm{e}}^r - 1 \, .&#10;$$&#10;To summarize:&#10;}}&#10;\end{minipage}&#10;\end{document}"/>
  <p:tag name="IGUANATEXSIZE" val="20"/>
  <p:tag name="IGUANATEXCURSOR" val="30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411,324"/>
  <p:tag name="ORIGINALWIDTH" val="4460,443"/>
  <p:tag name="LATEXADDIN" val="\documentclass{article}\pagestyle{empty}&#10;\usepackage{amsmath}&#10;\usepackage{amsfonts}&#10;\usepackage{amssymb}&#10;\begin{document}&#10;\begin{minipage}{12.6 cm}&#10;{\sffamily{&#10;{\bf{Effective Interest Rate Formulas:}}\\[1mm]&#10;If interest is compounded at the nominal rate $r$, the effective interest rate is the simple annual interest rate $r_e$&#10;that yields the same interest after $1$ year. If the compounding is $k$ times per year,&#10;the effective rate is given by the formula&#10;$$&#10;r_e \, \, = \, \, (1+i)^k - 1 \qquad \text{where $i = \tfrac{r}{k}$} \, ,&#10;$$&#10;while continuous compounding yields&#10;$$&#10;r_e \, \, = \, \, {\rm{e}}^r - 1 \, .&#10;$$&#10;}}&#10;\end{minipage}&#10;\end{document}"/>
  <p:tag name="IGUANATEXSIZE" val="20"/>
  <p:tag name="IGUANATEXCURSOR" val="53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16,76"/>
  <p:tag name="ORIGINALWIDTH" val="4458,943"/>
  <p:tag name="LATEXADDIN" val="\documentclass{article}\pagestyle{empty}&#10;\usepackage{amsmath}&#10;\usepackage{amsfonts}&#10;\usepackage{amssymb}&#10;\begin{document}&#10;\begin{minipage}{12.6 cm}&#10;{\sffamily{&#10;{\bf{Example: (Comparing Two Investments)}}\\[1mm]&#10;Which is better, an investment that earns $10\%$ compounded quarterly, one that earns&#10;$9.95\%$ compounded monthly, or one that earns $9.9\%$ compounded continuously?&#10;&#10;\vspace{0.5cm}&#10;{\bf{Solution:}}\\[1mm]&#10;We answer the question by comparing the effective interest rates of the three investments.&#10;For the first, the nominal rate is $10\%$ and compounding is quarterly, so we&#10;have $r = 0.10$, $k = 4$, and&#10;$$&#10;i \, \, = \, \, \tfrac{r}{k} \, \, = \, \, \tfrac{0.10}{4} \, \, = \, \, 0.025 \, .&#10;$$&#10;Substituting into the formula for effective rate, we get&#10;$$&#10;{\textbf{first effective rate}} \, \, = \, \, (1+0.025)^4 - 1 \, \, = \, \, 0.10381 \, .&#10;$$&#10;}}&#10;\end{minipage}&#10;\end{document}"/>
  <p:tag name="IGUANATEXSIZE" val="20"/>
  <p:tag name="IGUANATEXCURSOR" val="255"/>
  <p:tag name="TRANSPARENCY" val="Wahr"/>
  <p:tag name="FILENAME" val=""/>
  <p:tag name="LATEXENGINEID" val="0"/>
  <p:tag name="TEMPFOLDER" val="C:\Users\Public\temp\"/>
  <p:tag name="LATEXFORMHEIGHT" val="482,25"/>
  <p:tag name="LATEXFORMWIDTH" val="1030,5"/>
  <p:tag name="LATEXFORMWRAP" val="Wahr"/>
  <p:tag name="BITMAPVECTOR" val="0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58,98"/>
  <p:tag name="ORIGINALWIDTH" val="4458,193"/>
  <p:tag name="LATEXADDIN" val="\documentclass{article}\pagestyle{empty}&#10;\usepackage{amsmath}&#10;\usepackage{amsfonts}&#10;\usepackage{amssymb}&#10;\begin{document}&#10;\begin{minipage}{12.6 cm}&#10;{\sffamily{&#10;For the second investment, the nominal rate is $9.95\%$ and compounding is&#10;monthly, so $r=0.0995$, $k=12$, and&#10;$$&#10;i \, \, = \, \, \tfrac{r}{k} \, \, = \, \, \tfrac{0.0995}{12} \, \, = \, \, 0.008292 \, .&#10;$$\\[-5mm]&#10;We find that&#10;$$&#10;{\textbf{second effective rate}} \, \, = \, \, (1+0.008292)^{12} - 1 \, \, = \, \, 0.10417 \, .&#10;$$&#10;Finally, if compounding is continuous with nominal rate $9.9\%$, we have $r=0.099$&#10;and the effective rate is&#10;$$&#10;{\textbf{third effective rate}} \, \, = \, \, {\rm{e}}^{0.099} - 1 \, \, = \, \, 0.10407 \, .&#10;$$&#10;The effective rates are, respectively, $10.38\%$, $10.42\%$, and $10.41\%$, so the second&#10;investment is best.&#10;}}&#10;\end{minipage}&#10;\end{document}"/>
  <p:tag name="IGUANATEXSIZE" val="20"/>
  <p:tag name="IGUANATEXCURSOR" val="37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72,479"/>
  <p:tag name="ORIGINALWIDTH" val="4457,443"/>
  <p:tag name="LATEXADDIN" val="\documentclass{article}\pagestyle{empty}&#10;\usepackage{amsmath}&#10;\usepackage{amsfonts}&#10;\usepackage{amssymb}&#10;\begin{document}&#10;\begin{minipage}{12.6 cm}&#10;{\sffamily{&#10;{\bf{Example: (Reaching an Investment Goal)}}\\[1mm]&#10;How long will it take $P = 5000$ GEL to grow to $B = 7000$ GEL in an investment earning interest at&#10;an annual rate of $r = 6\%$ if the compounding is&#10;$$&#10;{\bf{a)}} \quad {\text{quarterly}} \, , \qquad {\bf{b)}} \quad {\text{continuous}} \, .&#10;$$&#10;&#10;\vspace{-1mm}&#10;{\bf{Solution:}}\\[1mm]&#10;{\bf{a)}} With quartly compounding ($k=4$) we have\\[-2mm]&#10;$$&#10;B \, \, = \, \, P \left( 1 + \tfrac{r}{k} \right)^{k t} \quad \Longrightarrow \quad 7000 \, \, = \, \, 5000 \cdot 1.015^{4t}&#10;$$&#10;and hence\\[-4mm]&#10;$$&#10;1.015^{4t} \, = \, \tfrac{7000}{5000} \, = \ 1.4 \quad \Longrightarrow \quad \ln\left( 1.015^{4t} \right) \, = \, \ln(1.4)&#10;$$&#10;such that&#10;$$&#10;4t\ln\left( 1.015 \right) \, = \, \ln(1.4) \quad \Longrightarrow \quad t \, = \, \tfrac{\ln(1.4)}{4 \ln(1.015)} \, \approx \, 5.65&#10;$$&#10;}}&#10;\end{minipage}&#10;\end{document}"/>
  <p:tag name="IGUANATEXSIZE" val="20"/>
  <p:tag name="IGUANATEXCURSOR" val="43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10,011"/>
  <p:tag name="ORIGINALWIDTH" val="4457,443"/>
  <p:tag name="LATEXADDIN" val="\documentclass{article}\pagestyle{empty}&#10;\usepackage{amsmath}&#10;\usepackage{amsfonts}&#10;\usepackage{amssymb}&#10;\begin{document}&#10;\begin{minipage}{12.6 cm}&#10;{\sffamily{&#10;This means that since compounding is done quarterly, the investment will first be&#10;worth $7000$ GEL in the third quarter of the sixth year.&#10;&#10;\vspace{0.2cm}&#10;{\bf{b)}} With continuous compounding, we use the formula $B = P {\rm{e}}^{rt}$:\\[-2mm]&#10;$$&#10;7000 \, \, = \, \, 5000 {\rm{e}}^{0.06t} \quad \Longrightarrow \quad {\rm{e}}^{0.06t} \, \, = \, \, \tfrac{7000}{5000} \, \, = \, \, 1.4&#10;$$&#10;Taking logarithms, we get\\[-2mm]&#10;$$&#10;\ln(1.4) \, \, = \, \, \ln\left( {\rm{e}}^{0.06t} \right) \, \, = \, \, 0.06&#10;$$&#10;and hence&#10;$$&#10;t \, \, = \, \, \tfrac{\ln(1.4)}{0.06} \, \, = \, \, 5.61 \, .&#10;$$&#10;So, with continuous compounding, it takes only $5.61$ years to reach the investment objective.&#10;}}&#10;\end{minipage}&#10;\end{document}"/>
  <p:tag name="IGUANATEXSIZE" val="20"/>
  <p:tag name="IGUANATEXCURSOR" val="73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765,6544"/>
  <p:tag name="ORIGINALWIDTH" val="4460,443"/>
  <p:tag name="LATEXADDIN" val="\documentclass{article}\pagestyle{empty}&#10;\usepackage{amsmath}&#10;\usepackage{amsfonts}&#10;\usepackage{amssymb}&#10;\begin{document}&#10;\begin{minipage}{12.6 cm}&#10;{\sffamily{&#10;{\bf{Exercise: (Finding Doubling Time for an Investment)}}\\[1mm]&#10;If Dato invests $1000$ GEL at $8\%$ annual interest, compounded continuously, how long&#10;does it take for his investment to double?\\[1mm]&#10;Would the doubling time of Dato's investment&#10;change if the principal were something other than $1000$ GEL?&#10;}}&#10;\end{minipage}&#10;\end{document}"/>
  <p:tag name="IGUANATEXSIZE" val="20"/>
  <p:tag name="IGUANATEXCURSOR" val="36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04,349"/>
  <p:tag name="ORIGINALWIDTH" val="4458,943"/>
  <p:tag name="LATEXADDIN" val="\documentclass{article}\pagestyle{empty}&#10;\usepackage{amsmath}&#10;\usepackage{amsfonts}&#10;\usepackage{amssymb}&#10;\begin{document}&#10;\begin{minipage}{12.6 cm}&#10;{\sffamily{&#10;{\bf{Solution:}}\\[1mm]&#10;With a principal of $1000$ GEL, the balance after $t$ years is $B(t) = 1000 {\rm{e}}^{0.08t}$, so the investment&#10;doubles when $B(t) = 2000$ GEL, that is, when\\[-2mm]&#10;$$&#10;2000 \, \, = \, \, 1000 {\rm{e}}^{0.08 t} \, .&#10;$$&#10;Dividing by $1000$ and taking the natural logarithm on each side of the equation, we get&#10;$$&#10;2 \, \, = \, \, {\rm{e}}^{0.08 t} \quad \Rightarrow \quad \ln(2) \, \, = \, \, 0.08 t \quad \Rightarrow \quad&#10;t \, \, = \, \, \tfrac{\ln(2)}{0.08} \, \, \approx \, \, 8.66 \quad \text{years} \, .&#10;$$&#10;}}&#10;\end{minipage}&#10;\end{document}"/>
  <p:tag name="IGUANATEXSIZE" val="20"/>
  <p:tag name="IGUANATEXCURSOR" val="49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94,3757"/>
  <p:tag name="ORIGINALWIDTH" val="4460,443"/>
  <p:tag name="LATEXADDIN" val="\documentclass{article}\pagestyle{empty}&#10;\usepackage{amsmath}&#10;\usepackage{amsfonts}&#10;\usepackage{amssymb}&#10;\begin{document}&#10;\begin{minipage}{12.6 cm}&#10;{\sffamily{&#10;{\bf{Solution:}}\\[1mm]&#10;If the principal had been $P_0$ GEL instead of $1000$ GEL, the doubling time would&#10;satisfy&#10;$$&#10;2 P_0 \, \, = \, \, P_0 {\rm{e}}^{0.08 t} \qquad \Longrightarrow \qquad 2 \, \, = \, \, {\rm{e}}^{0.08t}&#10;$$&#10;which is exactly the same equation we had with $P_0 = 1000$ GEL, so once again, the&#10;doubling time is $8.66$ years.&#10;}}&#10;\end{minipage}&#10;\end{document}"/>
  <p:tag name="IGUANATEXSIZE" val="20"/>
  <p:tag name="IGUANATEXCURSOR" val="49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74,8782"/>
  <p:tag name="ORIGINALWIDTH" val="4153,731"/>
  <p:tag name="LATEXADDIN" val="\documentclass{article}\pagestyle{empty}&#10;\usepackage{amsmath}&#10;\usepackage{amsfonts}&#10;\usepackage{amssymb}&#10;\begin{document}&#10;\begin{minipage}{12.6 cm}&#10;{\sffamily{&#10;In general, a quantity $Q(t) = Q_0 {\rm{e}}^{kt}$ ($k &gt; 0$) doubles when $t=d$, where&#10;$$&#10;d \, \, = \, \, \frac{\ln(2)}{k} \, ,&#10;$$&#10;\vspace{-2mm}&#10;as\\[-3mm]&#10;$$&#10;2 Q_0 \, \, = \, \, Q_0 {\rm{e}}^{kd} \quad \Rightarrow \quad 2 \, \, = \, \, {\rm{e}}^{kt} \quad \Rightarrow \quad &#10;\ln(2) \, \, = \, \, kd \quad \Rightarrow \quad d \, \, = \, \, \frac{\ln(2)}{k} \, .&#10;$$&#10;}}&#10;\end{minipage}&#10;\end{document}"/>
  <p:tag name="IGUANATEXSIZE" val="20"/>
  <p:tag name="IGUANATEXCURSOR" val="30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53,6933"/>
  <p:tag name="ORIGINALWIDTH" val="4450,694"/>
  <p:tag name="LATEXADDIN" val="\documentclass{article}\pagestyle{empty}&#10;\usepackage{amsmath}&#10;\usepackage{amsfonts}&#10;\usepackage{amssymb}&#10;\begin{document}&#10;\begin{minipage}{12.6 cm}&#10;{\sffamily{&#10;{\bf{Exercise: (Computing an Interest Rate)}}\\[1mm]&#10;Anao has $1500$ GEL to invest and wants it to grow to $2000$ in $5$ years. At what annual&#10;rate $r$ compounded continuously must she invest her money to achieve her goal?}}&#10;\end{minipage}&#10;\end{document}"/>
  <p:tag name="IGUANATEXSIZE" val="20"/>
  <p:tag name="IGUANATEXCURSOR" val="21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446,569"/>
  <p:tag name="ORIGINALWIDTH" val="4459,693"/>
  <p:tag name="LATEXADDIN" val="\documentclass{article}\pagestyle{empty}&#10;\usepackage{amsmath}&#10;\usepackage{amsfonts}&#10;\usepackage{amssymb}&#10;\begin{document}&#10;\begin{minipage}{12.6 cm}&#10;{\sffamily{&#10;{\bf{Solution:}}\\[1mm]&#10;If the interest rate is $r$, the future value of $1500$ in $5$ years is given by $1500 {\rm{e}}^{5 r}$.&#10;For this to equal $2000$, we must have\\[-2mm]&#10;$$&#10;1500 {\rm{e}}^{5 r} \, \, = \, \, 2000 \quad \Longrightarrow \quad {\rm{e}}^{5r} \, \, = \, \, \tfrac{2000}{1500} \, \, = \, \, \tfrac{4}{3} \, .&#10;$$&#10;Taking natural logarithms on both sides of this equation, we get&#10;$$&#10;\ln( {\rm{e}}^{5r} ) \, \, = \, \, \ln( \tfrac{4}{3} ) \quad \Longrightarrow \quad 5r \, \, = \, \, \ln( \tfrac{4}{3} ) \quad \Longrightarrow \quad&#10;r \, \, = \, \, \tfrac{1}{5} \ln( \tfrac{4}{3} ) \, \, \approx \, \, 0.575 \, .&#10;$$&#10;The annual interest rate is approximately $5.75\%$.&#10;}}&#10;\end{minipage}&#10;\end{document}"/>
  <p:tag name="IGUANATEXSIZE" val="20"/>
  <p:tag name="IGUANATEXCURSOR" val="35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336,708"/>
  <p:tag name="ORIGINALWIDTH" val="3397,076"/>
  <p:tag name="LATEXADDIN" val="\documentclass{article}\pagestyle{empty}&#10;\usepackage{amsmath}&#10;\usepackage{amsfonts}&#10;\usepackage{amssymb}&#10;\begin{document}&#10;\begin{minipage}{9.6 cm}&#10;{\sffamily{&#10;The graph of a function of the form $Q(t) = B - A {\rm{e}}^{-kt}$, where $A$, $B$, and $k$ are positive&#10;constants, is sometimes called a {\bf{learning curve}}. The name arose when psychologists discovered that&#10;for $t \geq 0$, functions of this form often realistically model the relationship&#10;between the efficiency with which an individual performs a task and the amount&#10;of training time or experience the 'learner' has had.\\[1mm]&#10;To sketch the graph of $Q(t) = B - A {\rm{e}}^{-kt}$ for $t \geq 0$, note that\\[-2mm]&#10;$$&#10;Q'(t) \, \, = \, \, -A {\rm{e}}^{-kt} (-k) \, \, = \, \, A k {\rm{e}}^{-kt}&#10;$$&#10;and&#10;$$&#10;Q''(t) \, \, = \, \, Ak {\rm{e}}^{-kt} (-k) \, \, = \, \, -A k^2 {\rm{e}}^{-kt} \, .&#10;$$&#10;Since $A$ and $k$ are positive, it follows that $Q'(t) &gt; 0$ and $Q''(t) &lt; 0$ for all $t$, so the&#10;graph of $Q(t)$ is always strictly monotonously increasing and is always concave down.&#10;&#10;}}&#10;\end{minipage}&#10;\end{document}"/>
  <p:tag name="IGUANATEXSIZE" val="20"/>
  <p:tag name="IGUANATEXCURSOR" val="101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451,069"/>
  <p:tag name="ORIGINALWIDTH" val="3396,326"/>
  <p:tag name="LATEXADDIN" val="\documentclass{article}\pagestyle{empty}&#10;\usepackage{amsmath}&#10;\usepackage{amsfonts}&#10;\usepackage{amssymb}&#10;\begin{document}&#10;\begin{minipage}{9.6 cm}&#10;{\sffamily{&#10;Furthermore, the vertical ($Q$-axis) intercept is $Q(0) = B - A$, and $Q = B$ is a horizontal asymptote since&#10;$$&#10;\lim_{t \to \infty} Q(t) \, \, = \, \, \lim_{t \to \infty} \left( B - A {\rm{e}}^{-kt} \right) \, \, = \, \, B - 0 \, \, = \, \, B \, .&#10;$$&#10;A graph with these features is sketched in the figure. The behavior of the learning&#10;curve as reflects the fact that in the long run, an individual approaches&#10;his or her learning capacity, and additional training time will result in only marginal&#10;improvement in performance efficiency.&#10;}}&#10;\end{minipage}&#10;\end{document}"/>
  <p:tag name="IGUANATEXSIZE" val="20"/>
  <p:tag name="IGUANATEXCURSOR" val="54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08,549"/>
  <p:tag name="ORIGINALWIDTH" val="3403,825"/>
  <p:tag name="LATEXADDIN" val="\documentclass{article}\pagestyle{empty}&#10;\usepackage{amsmath}&#10;\usepackage{amsfonts}&#10;\usepackage{amssymb}&#10;\begin{document}&#10;\begin{minipage}{9.6 cm}&#10;{\sffamily{&#10;{\bf{Exercise: (Examining a Learning Model)}}\\[1mm]&#10;The rate at which a postal clerk can sort mail is a function of the clerk's experience.&#10;Suppose the postmaster of a large city estimates that after $t$ months on the job, the&#10;average clerk can sort $Q(t) = 700 - 400 {\rm{e}}^{-0.5t}$ letters per hour:\\[-6mm]&#10;\begin{itemize}&#10;\item[{\bf{a)}}] How many letters can a new employee sort per hour?\\[-6mm]&#10;\item[{\bf{b)}}] How many letters can a clerk with 6 months' experience sort per hour?\\[-6mm]&#10;\item[{\bf{c)}}] Approximately how many letters will the average clerk ultimately be able to sort&#10;per hour?&#10;\end{itemize}&#10;}}&#10;\end{minipage}&#10;\end{document}"/>
  <p:tag name="IGUANATEXSIZE" val="20"/>
  <p:tag name="IGUANATEXCURSOR" val="62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16,986"/>
  <p:tag name="ORIGINALWIDTH" val="3394,826"/>
  <p:tag name="LATEXADDIN" val="\documentclass{article}\pagestyle{empty}&#10;\usepackage{amsmath}&#10;\usepackage{amsfonts}&#10;\usepackage{amssymb}&#10;\begin{document}&#10;\begin{minipage}{9.6 cm}&#10;{\sffamily{&#10;{\bf{Solution:}}\\[1mm]&#10;{\bf{a)}} The number of letters a new employee can sort per hour is\\[-2mm]&#10;$$&#10;Q(0) \, \, = \, \, 700 - 400 {\rm{e}}^{0} \, \, = \, \, 300 \, .&#10;$$&#10;&#10;\vspace{0.4cm}&#10;{\bf{b)}} After $6$ months, the average clerk can sort\\[-6mm]&#10;\begin{eqnarray*}&#10;Q(6) &amp; = &amp; 700 - 400 {\rm{e}}^{-0.5 \cdot 6} \, \, = \, \, 700 - 400 {\rm{e}}^{-3} \\[1mm]&#10;&amp; \approx &amp;&#10;680 \quad \text{letters per hour} \, .&#10;\end{eqnarray*}&#10;&#10;\vspace{0.2cm}&#10;{\bf{c)}} As $t$ increases without bound, $Q(t)$ approaches $700$. Hence, the average clerk will&#10;ultimately be able to sort approximately $700$ letters per hour. The graph of the&#10;function $Q(t)$ is sketched in the figure.&#10;}}&#10;\end{minipage}&#10;\end{document}"/>
  <p:tag name="IGUANATEXSIZE" val="20"/>
  <p:tag name="IGUANATEXCURSOR" val="34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86,089"/>
  <p:tag name="ORIGINALWIDTH" val="4464,192"/>
  <p:tag name="LATEXADDIN" val="\documentclass{article}\pagestyle{empty}&#10;\usepackage{amsmath}&#10;\usepackage{amsfonts}&#10;\usepackage{amssymb}&#10;\begin{document}&#10;\begin{minipage}{12.6 cm}&#10;{\sffamily{&#10;{\bf{Exercise: (Studying the Progress of an Epidemic)}}\\[1mm]&#10;Public health records indicate that $t$ weeks after the outbreak of a certain strain of influenza, approximately&#10;$Q(t) = \frac{20}{1 + 19 {\rm{e}}^{-1.2 t}}$ thousand people had caught the disease.\\[-6mm]&#10;\begin{itemize}&#10;\item[{\bf{a)}}] How many people had the disease when it broke out? How many had it $2$ weeks later?\\[-6mm]&#10;\item[{\bf{b)}}] At what time does the rate of infection begin to decline?\\[-6mm]&#10;\item[{\bf{c)}}] If the trend continues, approximately how many people will eventually contract the disease?&#10;\end{itemize}&#10;&#10;}}&#10;\end{minipage}&#10;\end{document}"/>
  <p:tag name="IGUANATEXSIZE" val="20"/>
  <p:tag name="IGUANATEXCURSOR" val="55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87,214"/>
  <p:tag name="ORIGINALWIDTH" val="3396,326"/>
  <p:tag name="LATEXADDIN" val="\documentclass{article}\pagestyle{empty}&#10;\usepackage{amsmath}&#10;\usepackage{amsfonts}&#10;\usepackage{amssymb}&#10;\begin{document}&#10;\begin{minipage}{9.6 cm}&#10;{\sffamily{&#10;{\bf{Solution:}}\\[1mm]&#10;{\bf{a)}} Since $Q(0) = \frac{20}{1+19} = 1$, it follows that $1000$ people initially had the disease. When $t=2$,\\[-2mm]&#10;$$&#10;Q(2) \, \, = \, \, \frac{20}{1 + 19 {\rm{e}}^{-1.2 \cdot 2}} \, \, \approx \, \, 7.343 \, ,&#10;$$&#10;so about $7343$ had contracted the disease by the second week.&#10;&#10;\vspace{0.2cm}&#10;{\bf{b)}} The rate of infection begins to decline at the inflection point on the graph of $Q(t)$. By comparing the given formula&#10;with the logistic formula $Q(t) = \frac{B}{1 + A {\rm{e}}^{-Bkt}}$, we find that $B = 20$, $A = 19$, and $Bk = 1.2$. Thus, the&#10;inflection point occurs when&#10;$$&#10;t \, \, = \, \, \frac{\ln(A)}{BK} \, \, = \, \, \frac{\ln(19)}{1.2} \, \, \approx \, \, 2.454 \, ,&#10;$$&#10;so the epidemic begins to fade about $2.5$ weeks after it starts.&#10;}}&#10;\end{minipage}&#10;\end{document}"/>
  <p:tag name="IGUANATEXSIZE" val="20"/>
  <p:tag name="IGUANATEXCURSOR" val="86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18,4477"/>
  <p:tag name="ORIGINALWIDTH" val="3393,326"/>
  <p:tag name="LATEXADDIN" val="\documentclass{article}\pagestyle{empty}&#10;\usepackage{amsmath}&#10;\usepackage{amsfonts}&#10;\usepackage{amssymb}&#10;\begin{document}&#10;\begin{minipage}{9.6 cm}&#10;{\sffamily{&#10;{\bf{c)}} Since $Q(t)$ approaches $20$ as $t$ increases without bound, it follows that approximately&#10;$20 000$ people will eventually contract the disease. For reference, the graph&#10;is sketched in the figure.&#10;}}&#10;\end{minipage}&#10;\end{document}"/>
  <p:tag name="IGUANATEXSIZE" val="20"/>
  <p:tag name="IGUANATEXCURSOR" val="36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heme/theme1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8100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100000" t="-60000" r="100000" b="20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548</Words>
  <Application>Microsoft Office PowerPoint</Application>
  <PresentationFormat>Bildschirmpräsentation (16:9)</PresentationFormat>
  <Paragraphs>94</Paragraphs>
  <Slides>48</Slides>
  <Notes>0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48</vt:i4>
      </vt:variant>
    </vt:vector>
  </HeadingPairs>
  <TitlesOfParts>
    <vt:vector size="49" baseType="lpstr">
      <vt:lpstr>Larissa-Design</vt:lpstr>
      <vt:lpstr>Calculus I for Management</vt:lpstr>
      <vt:lpstr>Folie 2</vt:lpstr>
      <vt:lpstr>Recap: You already know exponential functions and their properties</vt:lpstr>
      <vt:lpstr>Recap: Exponential functions grow faster than power functions</vt:lpstr>
      <vt:lpstr>Recap: The (natural) exponential function</vt:lpstr>
      <vt:lpstr>Composition of a bijective function with its (uniquely defined) inverse function gives the identity function on the domain </vt:lpstr>
      <vt:lpstr>In all standard cases the inverse function is determined by means of algebraic manipulations</vt:lpstr>
      <vt:lpstr>Example: Finding the inverse of a function</vt:lpstr>
      <vt:lpstr>Geometrically, the graph of the inverse function is obtained by reflecting the graph of the function about the line y = x </vt:lpstr>
      <vt:lpstr>Example: Exponential function and logarithmic function</vt:lpstr>
      <vt:lpstr>Example: Exponential function and the natural logarithm</vt:lpstr>
      <vt:lpstr>The properties of logarithmic functions follow from the mirroring of those of exponential functions</vt:lpstr>
      <vt:lpstr>Folie 13</vt:lpstr>
      <vt:lpstr>Analogous to the trigonometric functions that are dine fined for  the unit circle we define the hyperbolic functions for the unit hyperbola</vt:lpstr>
      <vt:lpstr>These hyperbolic functions are given in terms of the sum/ difference of two exponential functions</vt:lpstr>
      <vt:lpstr>It is easily checked that the hyperbolic sine and hyperbolic cosine satisfy the defining equation of a hyperbola for all elements of their domain</vt:lpstr>
      <vt:lpstr>Example: Properties of the hyperbolic cosine</vt:lpstr>
      <vt:lpstr>Example: Derivatives of the hyperbolic functions</vt:lpstr>
      <vt:lpstr>The hyperbolic cosine describes the behavior of a chain under gravitation; a statically very interesting behavior exploited e.g. by Antoni Gaudi</vt:lpstr>
      <vt:lpstr>Folie 20</vt:lpstr>
      <vt:lpstr>Motivating the formula for continuous compounding of interest (1/ 4)</vt:lpstr>
      <vt:lpstr>Motivating the formula for continuous compounding of interest (2/ 4)</vt:lpstr>
      <vt:lpstr>Motivating the formula for continuous compounding of interest (3/ 4)</vt:lpstr>
      <vt:lpstr>Motivating the formula for continuous compounding of interest (4/ 4)</vt:lpstr>
      <vt:lpstr>Example: Computing future value</vt:lpstr>
      <vt:lpstr>Continuous compounding as the limit case for infinitely many compounding events </vt:lpstr>
      <vt:lpstr>Motivating the formula for present vale (1/ 2)</vt:lpstr>
      <vt:lpstr>Motivating the formula for present vale (2/ 2)</vt:lpstr>
      <vt:lpstr>Example: Finding present value</vt:lpstr>
      <vt:lpstr>Motivating the formula for effective interest rates (1/ 2)</vt:lpstr>
      <vt:lpstr>Motivating the formula for effective interest rates (2/ 2)</vt:lpstr>
      <vt:lpstr>Example: Comparing two investments</vt:lpstr>
      <vt:lpstr>Example: Comparing two investments</vt:lpstr>
      <vt:lpstr>Example: Reaching an investment goal</vt:lpstr>
      <vt:lpstr>Example: Reaching an investment goal</vt:lpstr>
      <vt:lpstr>Example: Continuously Compounded Interest</vt:lpstr>
      <vt:lpstr>Folie 37</vt:lpstr>
      <vt:lpstr>Exercise: Finding doubling time for an investment</vt:lpstr>
      <vt:lpstr>Exercise: Finding doubling time for an investment</vt:lpstr>
      <vt:lpstr>Exercise: Computing an interest rate</vt:lpstr>
      <vt:lpstr>An application of exponential growth/ decay is given by the efficiency with which an individual performs a task and the amount of training time (1/ 2)</vt:lpstr>
      <vt:lpstr>An application of exponential growth/ decay is given by the efficiency with which an individual performs a task and the amount of training time (2/ 2)</vt:lpstr>
      <vt:lpstr>Exercise: Examining a Learning Model</vt:lpstr>
      <vt:lpstr>Exercise: Examining a Learning Model</vt:lpstr>
      <vt:lpstr>Exercise: Studying the progress of an epidemic</vt:lpstr>
      <vt:lpstr>Exercise: Studying the progress of an epidemic</vt:lpstr>
      <vt:lpstr>Exercise: Studying the progress of an epidemic</vt:lpstr>
      <vt:lpstr>Calculus I for Management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Florian</dc:creator>
  <cp:lastModifiedBy>Florian Rupp</cp:lastModifiedBy>
  <cp:revision>235</cp:revision>
  <dcterms:created xsi:type="dcterms:W3CDTF">2020-04-04T18:50:50Z</dcterms:created>
  <dcterms:modified xsi:type="dcterms:W3CDTF">2022-10-04T20:53:28Z</dcterms:modified>
</cp:coreProperties>
</file>